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9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04" r:id="rId2"/>
    <p:sldMasterId id="2147483851" r:id="rId3"/>
    <p:sldMasterId id="2147483963" r:id="rId4"/>
    <p:sldMasterId id="2147483978" r:id="rId5"/>
    <p:sldMasterId id="2147483990" r:id="rId6"/>
    <p:sldMasterId id="2147484017" r:id="rId7"/>
    <p:sldMasterId id="2147484029" r:id="rId8"/>
    <p:sldMasterId id="2147484041" r:id="rId9"/>
    <p:sldMasterId id="2147484053" r:id="rId10"/>
  </p:sldMasterIdLst>
  <p:notesMasterIdLst>
    <p:notesMasterId r:id="rId29"/>
  </p:notesMasterIdLst>
  <p:sldIdLst>
    <p:sldId id="256" r:id="rId11"/>
    <p:sldId id="285" r:id="rId12"/>
    <p:sldId id="257" r:id="rId13"/>
    <p:sldId id="1551" r:id="rId14"/>
    <p:sldId id="264" r:id="rId15"/>
    <p:sldId id="1554" r:id="rId16"/>
    <p:sldId id="1553" r:id="rId17"/>
    <p:sldId id="265" r:id="rId18"/>
    <p:sldId id="2147470769" r:id="rId19"/>
    <p:sldId id="2076138183" r:id="rId20"/>
    <p:sldId id="2147470768" r:id="rId21"/>
    <p:sldId id="2147138817" r:id="rId22"/>
    <p:sldId id="1579" r:id="rId23"/>
    <p:sldId id="1560" r:id="rId24"/>
    <p:sldId id="1561" r:id="rId25"/>
    <p:sldId id="2147470770" r:id="rId26"/>
    <p:sldId id="2147470771" r:id="rId27"/>
    <p:sldId id="534" r:id="rId28"/>
  </p:sldIdLst>
  <p:sldSz cx="12192000" cy="6858000"/>
  <p:notesSz cx="7315200" cy="96012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>
      <p:cViewPr varScale="1">
        <p:scale>
          <a:sx n="69" d="100"/>
          <a:sy n="69" d="100"/>
        </p:scale>
        <p:origin x="84" y="120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2F0D297-26D5-468F-BAA8-37431C7C8BA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475F86B3-1F29-4DDB-B88A-6B12B0DCC216}">
      <dgm:prSet phldrT="[Text]"/>
      <dgm:spPr>
        <a:solidFill>
          <a:srgbClr val="646464"/>
        </a:solidFill>
      </dgm:spPr>
      <dgm:t>
        <a:bodyPr/>
        <a:lstStyle/>
        <a:p>
          <a:r>
            <a:rPr lang="en-GB" dirty="0">
              <a:latin typeface="Arial MT"/>
            </a:rPr>
            <a:t>Information type identification</a:t>
          </a:r>
        </a:p>
      </dgm:t>
    </dgm:pt>
    <dgm:pt modelId="{E61E5C39-3C9A-4696-8D99-569BD71F0E22}" type="parTrans" cxnId="{FEE48156-A7A4-4421-BEB8-4C782D65152F}">
      <dgm:prSet/>
      <dgm:spPr/>
      <dgm:t>
        <a:bodyPr/>
        <a:lstStyle/>
        <a:p>
          <a:endParaRPr lang="en-GB">
            <a:latin typeface="Arial MT"/>
          </a:endParaRPr>
        </a:p>
      </dgm:t>
    </dgm:pt>
    <dgm:pt modelId="{90CE572C-B190-4CF4-904C-0DBF00BE274D}" type="sibTrans" cxnId="{FEE48156-A7A4-4421-BEB8-4C782D65152F}">
      <dgm:prSet/>
      <dgm:spPr/>
      <dgm:t>
        <a:bodyPr/>
        <a:lstStyle/>
        <a:p>
          <a:endParaRPr lang="en-GB">
            <a:latin typeface="Arial MT"/>
          </a:endParaRPr>
        </a:p>
      </dgm:t>
    </dgm:pt>
    <dgm:pt modelId="{9DDEC916-60F7-496E-A275-DEC955ACCFCF}">
      <dgm:prSet phldrT="[Text]"/>
      <dgm:spPr>
        <a:solidFill>
          <a:srgbClr val="9DD7E4"/>
        </a:solidFill>
      </dgm:spPr>
      <dgm:t>
        <a:bodyPr/>
        <a:lstStyle/>
        <a:p>
          <a:r>
            <a:rPr lang="en-GB" dirty="0">
              <a:latin typeface="Arial MT"/>
            </a:rPr>
            <a:t>Keywords</a:t>
          </a:r>
        </a:p>
      </dgm:t>
    </dgm:pt>
    <dgm:pt modelId="{F606ECEB-15C5-4804-A3C7-7A7BA5D7563A}" type="parTrans" cxnId="{B1514CF3-1D1E-48C8-A0AD-3A83126E43EE}">
      <dgm:prSet/>
      <dgm:spPr>
        <a:solidFill>
          <a:srgbClr val="9DD7E4"/>
        </a:solidFill>
      </dgm:spPr>
      <dgm:t>
        <a:bodyPr/>
        <a:lstStyle/>
        <a:p>
          <a:endParaRPr lang="en-GB">
            <a:latin typeface="Arial MT"/>
          </a:endParaRPr>
        </a:p>
      </dgm:t>
    </dgm:pt>
    <dgm:pt modelId="{27AD10D3-A085-4A7D-87D7-3D6C47A0E141}" type="sibTrans" cxnId="{B1514CF3-1D1E-48C8-A0AD-3A83126E43EE}">
      <dgm:prSet/>
      <dgm:spPr/>
      <dgm:t>
        <a:bodyPr/>
        <a:lstStyle/>
        <a:p>
          <a:endParaRPr lang="en-GB">
            <a:latin typeface="Arial MT"/>
          </a:endParaRPr>
        </a:p>
      </dgm:t>
    </dgm:pt>
    <dgm:pt modelId="{9FBF0B59-18BC-4493-97EE-7AA2BBF2737A}">
      <dgm:prSet phldrT="[Text]"/>
      <dgm:spPr>
        <a:solidFill>
          <a:srgbClr val="284389"/>
        </a:solidFill>
      </dgm:spPr>
      <dgm:t>
        <a:bodyPr/>
        <a:lstStyle/>
        <a:p>
          <a:r>
            <a:rPr lang="en-GB" dirty="0">
              <a:latin typeface="Arial MT"/>
            </a:rPr>
            <a:t>Exact data match</a:t>
          </a:r>
        </a:p>
      </dgm:t>
    </dgm:pt>
    <dgm:pt modelId="{BB79E9E1-A03F-45F5-A359-CEEE8BF642B1}" type="parTrans" cxnId="{70F3E4BC-904C-4B90-A4B8-7A230AB65E8D}">
      <dgm:prSet/>
      <dgm:spPr>
        <a:solidFill>
          <a:srgbClr val="284389"/>
        </a:solidFill>
      </dgm:spPr>
      <dgm:t>
        <a:bodyPr/>
        <a:lstStyle/>
        <a:p>
          <a:endParaRPr lang="en-GB">
            <a:latin typeface="Arial MT"/>
          </a:endParaRPr>
        </a:p>
      </dgm:t>
    </dgm:pt>
    <dgm:pt modelId="{43599E62-1E7A-48BA-A5F0-79B7FCF70621}" type="sibTrans" cxnId="{70F3E4BC-904C-4B90-A4B8-7A230AB65E8D}">
      <dgm:prSet/>
      <dgm:spPr/>
      <dgm:t>
        <a:bodyPr/>
        <a:lstStyle/>
        <a:p>
          <a:endParaRPr lang="en-GB">
            <a:latin typeface="Arial MT"/>
          </a:endParaRPr>
        </a:p>
      </dgm:t>
    </dgm:pt>
    <dgm:pt modelId="{ADC900CC-90A0-4B6C-B981-432F91F3373E}">
      <dgm:prSet phldrT="[Text]"/>
      <dgm:spPr>
        <a:solidFill>
          <a:srgbClr val="646464"/>
        </a:solidFill>
      </dgm:spPr>
      <dgm:t>
        <a:bodyPr/>
        <a:lstStyle/>
        <a:p>
          <a:r>
            <a:rPr lang="en-GB" dirty="0">
              <a:latin typeface="Arial MT"/>
            </a:rPr>
            <a:t>Text pattern</a:t>
          </a:r>
          <a:br>
            <a:rPr lang="en-GB" dirty="0">
              <a:latin typeface="Arial MT"/>
            </a:rPr>
          </a:br>
          <a:r>
            <a:rPr lang="en-GB" dirty="0">
              <a:latin typeface="Arial MT"/>
            </a:rPr>
            <a:t>(regular exp.)</a:t>
          </a:r>
        </a:p>
      </dgm:t>
    </dgm:pt>
    <dgm:pt modelId="{A025B7DE-D0BB-4744-B7DF-6018DF11E64E}" type="parTrans" cxnId="{D3D22A91-1B9A-4E81-A788-1442AA516147}">
      <dgm:prSet/>
      <dgm:spPr>
        <a:solidFill>
          <a:srgbClr val="646464"/>
        </a:solidFill>
      </dgm:spPr>
      <dgm:t>
        <a:bodyPr/>
        <a:lstStyle/>
        <a:p>
          <a:endParaRPr lang="en-GB">
            <a:latin typeface="Arial MT"/>
          </a:endParaRPr>
        </a:p>
      </dgm:t>
    </dgm:pt>
    <dgm:pt modelId="{02712892-6286-45C1-9D5A-65A8A1FBCEC7}" type="sibTrans" cxnId="{D3D22A91-1B9A-4E81-A788-1442AA516147}">
      <dgm:prSet/>
      <dgm:spPr/>
      <dgm:t>
        <a:bodyPr/>
        <a:lstStyle/>
        <a:p>
          <a:endParaRPr lang="en-GB">
            <a:latin typeface="Arial MT"/>
          </a:endParaRPr>
        </a:p>
      </dgm:t>
    </dgm:pt>
    <dgm:pt modelId="{E8DA44A3-C164-4241-8230-C1825A5CCA06}">
      <dgm:prSet phldrT="[Text]"/>
      <dgm:spPr>
        <a:solidFill>
          <a:srgbClr val="9DD7E4"/>
        </a:solidFill>
      </dgm:spPr>
      <dgm:t>
        <a:bodyPr/>
        <a:lstStyle/>
        <a:p>
          <a:r>
            <a:rPr lang="en-GB">
              <a:latin typeface="Arial MT"/>
            </a:rPr>
            <a:t>Document recognition </a:t>
          </a:r>
        </a:p>
      </dgm:t>
    </dgm:pt>
    <dgm:pt modelId="{4A9EB114-F3BB-4777-9F5D-6B232713BB0F}" type="parTrans" cxnId="{17B3B474-B0BB-41BD-929F-E91EB774EC88}">
      <dgm:prSet/>
      <dgm:spPr>
        <a:solidFill>
          <a:srgbClr val="9DD7E4"/>
        </a:solidFill>
      </dgm:spPr>
      <dgm:t>
        <a:bodyPr/>
        <a:lstStyle/>
        <a:p>
          <a:endParaRPr lang="en-GB">
            <a:latin typeface="Arial MT"/>
          </a:endParaRPr>
        </a:p>
      </dgm:t>
    </dgm:pt>
    <dgm:pt modelId="{8A7D2197-75D1-4767-A65D-03B31D7ACB60}" type="sibTrans" cxnId="{17B3B474-B0BB-41BD-929F-E91EB774EC88}">
      <dgm:prSet/>
      <dgm:spPr/>
      <dgm:t>
        <a:bodyPr/>
        <a:lstStyle/>
        <a:p>
          <a:endParaRPr lang="en-GB">
            <a:latin typeface="Arial MT"/>
          </a:endParaRPr>
        </a:p>
      </dgm:t>
    </dgm:pt>
    <dgm:pt modelId="{9ADE90EC-901F-46E5-AB3E-C00765DE48CC}">
      <dgm:prSet phldrT="[Text]"/>
      <dgm:spPr>
        <a:solidFill>
          <a:srgbClr val="284389"/>
        </a:solidFill>
      </dgm:spPr>
      <dgm:t>
        <a:bodyPr/>
        <a:lstStyle/>
        <a:p>
          <a:r>
            <a:rPr lang="en-GB" dirty="0">
              <a:latin typeface="Arial MT"/>
            </a:rPr>
            <a:t>Location</a:t>
          </a:r>
        </a:p>
      </dgm:t>
    </dgm:pt>
    <dgm:pt modelId="{D7B3E737-141D-47D2-BE23-DB8C54AC1F29}" type="parTrans" cxnId="{0D799645-1AEF-4D30-A71F-0047F444E4CD}">
      <dgm:prSet/>
      <dgm:spPr>
        <a:solidFill>
          <a:srgbClr val="284389"/>
        </a:solidFill>
      </dgm:spPr>
      <dgm:t>
        <a:bodyPr/>
        <a:lstStyle/>
        <a:p>
          <a:endParaRPr lang="en-GB">
            <a:latin typeface="Arial MT"/>
          </a:endParaRPr>
        </a:p>
      </dgm:t>
    </dgm:pt>
    <dgm:pt modelId="{4462DDED-7FB2-422E-B048-5A3677A58ED9}" type="sibTrans" cxnId="{0D799645-1AEF-4D30-A71F-0047F444E4CD}">
      <dgm:prSet/>
      <dgm:spPr/>
      <dgm:t>
        <a:bodyPr/>
        <a:lstStyle/>
        <a:p>
          <a:endParaRPr lang="en-GB">
            <a:latin typeface="Arial MT"/>
          </a:endParaRPr>
        </a:p>
      </dgm:t>
    </dgm:pt>
    <dgm:pt modelId="{7E1D0A9A-804F-48CF-A36C-8BD95E5A8EDC}">
      <dgm:prSet phldrT="[Text]"/>
      <dgm:spPr>
        <a:solidFill>
          <a:srgbClr val="646464"/>
        </a:solidFill>
      </dgm:spPr>
      <dgm:t>
        <a:bodyPr/>
        <a:lstStyle/>
        <a:p>
          <a:r>
            <a:rPr lang="en-GB" dirty="0">
              <a:latin typeface="Arial MT"/>
            </a:rPr>
            <a:t>Meta data</a:t>
          </a:r>
        </a:p>
      </dgm:t>
    </dgm:pt>
    <dgm:pt modelId="{F1A62970-3CF6-4612-8AFD-B61CF0960079}" type="parTrans" cxnId="{9C23A1E2-E30A-4006-BF28-C7415DF31572}">
      <dgm:prSet/>
      <dgm:spPr>
        <a:solidFill>
          <a:srgbClr val="646464"/>
        </a:solidFill>
      </dgm:spPr>
      <dgm:t>
        <a:bodyPr/>
        <a:lstStyle/>
        <a:p>
          <a:endParaRPr lang="en-GB">
            <a:latin typeface="Arial MT"/>
          </a:endParaRPr>
        </a:p>
      </dgm:t>
    </dgm:pt>
    <dgm:pt modelId="{3E835C45-E1DF-44D0-A439-2A73962870E5}" type="sibTrans" cxnId="{9C23A1E2-E30A-4006-BF28-C7415DF31572}">
      <dgm:prSet/>
      <dgm:spPr/>
      <dgm:t>
        <a:bodyPr/>
        <a:lstStyle/>
        <a:p>
          <a:endParaRPr lang="en-GB">
            <a:latin typeface="Arial MT"/>
          </a:endParaRPr>
        </a:p>
      </dgm:t>
    </dgm:pt>
    <dgm:pt modelId="{F6F7724C-05A7-4A19-85C6-9E154AEAC1E4}">
      <dgm:prSet phldrT="[Text]"/>
      <dgm:spPr>
        <a:solidFill>
          <a:srgbClr val="284389"/>
        </a:solidFill>
      </dgm:spPr>
      <dgm:t>
        <a:bodyPr/>
        <a:lstStyle/>
        <a:p>
          <a:r>
            <a:rPr lang="en-GB" dirty="0">
              <a:latin typeface="Arial MT"/>
            </a:rPr>
            <a:t>File extension / mime type</a:t>
          </a:r>
        </a:p>
      </dgm:t>
    </dgm:pt>
    <dgm:pt modelId="{2D044A8B-3C50-45B9-9F2F-A939D31DB2FF}" type="parTrans" cxnId="{E933859D-F5E9-48F7-BC17-34CD7508A812}">
      <dgm:prSet/>
      <dgm:spPr>
        <a:solidFill>
          <a:srgbClr val="284389"/>
        </a:solidFill>
      </dgm:spPr>
      <dgm:t>
        <a:bodyPr/>
        <a:lstStyle/>
        <a:p>
          <a:endParaRPr lang="en-GB">
            <a:latin typeface="Arial MT"/>
          </a:endParaRPr>
        </a:p>
      </dgm:t>
    </dgm:pt>
    <dgm:pt modelId="{FEA70AE8-4193-4313-8417-BBB76927E88C}" type="sibTrans" cxnId="{E933859D-F5E9-48F7-BC17-34CD7508A812}">
      <dgm:prSet/>
      <dgm:spPr/>
      <dgm:t>
        <a:bodyPr/>
        <a:lstStyle/>
        <a:p>
          <a:endParaRPr lang="en-GB">
            <a:latin typeface="Arial MT"/>
          </a:endParaRPr>
        </a:p>
      </dgm:t>
    </dgm:pt>
    <dgm:pt modelId="{F554A7FB-A140-4AFD-97A0-E97F6A7AB706}" type="pres">
      <dgm:prSet presAssocID="{02F0D297-26D5-468F-BAA8-37431C7C8BAC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99AB0918-885C-4B02-93D6-43C3C15A7227}" type="pres">
      <dgm:prSet presAssocID="{475F86B3-1F29-4DDB-B88A-6B12B0DCC216}" presName="centerShape" presStyleLbl="node0" presStyleIdx="0" presStyleCnt="1"/>
      <dgm:spPr/>
    </dgm:pt>
    <dgm:pt modelId="{19A884B8-DAE3-42A1-8D9A-44F066EAB6E4}" type="pres">
      <dgm:prSet presAssocID="{F606ECEB-15C5-4804-A3C7-7A7BA5D7563A}" presName="parTrans" presStyleLbl="sibTrans2D1" presStyleIdx="0" presStyleCnt="7"/>
      <dgm:spPr/>
    </dgm:pt>
    <dgm:pt modelId="{32AF22FA-66D1-4FF5-85CB-FB3E7E8DAF47}" type="pres">
      <dgm:prSet presAssocID="{F606ECEB-15C5-4804-A3C7-7A7BA5D7563A}" presName="connectorText" presStyleLbl="sibTrans2D1" presStyleIdx="0" presStyleCnt="7"/>
      <dgm:spPr/>
    </dgm:pt>
    <dgm:pt modelId="{3ACC7B52-CB0A-45C4-BF37-BE5220E03B66}" type="pres">
      <dgm:prSet presAssocID="{9DDEC916-60F7-496E-A275-DEC955ACCFCF}" presName="node" presStyleLbl="node1" presStyleIdx="0" presStyleCnt="7">
        <dgm:presLayoutVars>
          <dgm:bulletEnabled val="1"/>
        </dgm:presLayoutVars>
      </dgm:prSet>
      <dgm:spPr/>
    </dgm:pt>
    <dgm:pt modelId="{7F34F428-A9C6-4447-92CA-6146420DCDD2}" type="pres">
      <dgm:prSet presAssocID="{BB79E9E1-A03F-45F5-A359-CEEE8BF642B1}" presName="parTrans" presStyleLbl="sibTrans2D1" presStyleIdx="1" presStyleCnt="7"/>
      <dgm:spPr/>
    </dgm:pt>
    <dgm:pt modelId="{F5886800-3BFE-4DDC-B1E7-A71A2B61B856}" type="pres">
      <dgm:prSet presAssocID="{BB79E9E1-A03F-45F5-A359-CEEE8BF642B1}" presName="connectorText" presStyleLbl="sibTrans2D1" presStyleIdx="1" presStyleCnt="7"/>
      <dgm:spPr/>
    </dgm:pt>
    <dgm:pt modelId="{E6C7731E-514C-44C2-8E20-D9F05836645D}" type="pres">
      <dgm:prSet presAssocID="{9FBF0B59-18BC-4493-97EE-7AA2BBF2737A}" presName="node" presStyleLbl="node1" presStyleIdx="1" presStyleCnt="7">
        <dgm:presLayoutVars>
          <dgm:bulletEnabled val="1"/>
        </dgm:presLayoutVars>
      </dgm:prSet>
      <dgm:spPr/>
    </dgm:pt>
    <dgm:pt modelId="{AC8B1996-72EF-4F87-9F0D-D334B187D4AD}" type="pres">
      <dgm:prSet presAssocID="{A025B7DE-D0BB-4744-B7DF-6018DF11E64E}" presName="parTrans" presStyleLbl="sibTrans2D1" presStyleIdx="2" presStyleCnt="7"/>
      <dgm:spPr/>
    </dgm:pt>
    <dgm:pt modelId="{C2AB4D56-6AF7-4207-8F33-31F02813B62E}" type="pres">
      <dgm:prSet presAssocID="{A025B7DE-D0BB-4744-B7DF-6018DF11E64E}" presName="connectorText" presStyleLbl="sibTrans2D1" presStyleIdx="2" presStyleCnt="7"/>
      <dgm:spPr/>
    </dgm:pt>
    <dgm:pt modelId="{F922F331-29D1-495C-A280-A65CD3AAA4ED}" type="pres">
      <dgm:prSet presAssocID="{ADC900CC-90A0-4B6C-B981-432F91F3373E}" presName="node" presStyleLbl="node1" presStyleIdx="2" presStyleCnt="7">
        <dgm:presLayoutVars>
          <dgm:bulletEnabled val="1"/>
        </dgm:presLayoutVars>
      </dgm:prSet>
      <dgm:spPr/>
    </dgm:pt>
    <dgm:pt modelId="{22F357DD-EEA8-4130-A619-014E8EBD3756}" type="pres">
      <dgm:prSet presAssocID="{4A9EB114-F3BB-4777-9F5D-6B232713BB0F}" presName="parTrans" presStyleLbl="sibTrans2D1" presStyleIdx="3" presStyleCnt="7"/>
      <dgm:spPr/>
    </dgm:pt>
    <dgm:pt modelId="{80C286F5-B3EA-4E3C-B785-CA6E0D3D175E}" type="pres">
      <dgm:prSet presAssocID="{4A9EB114-F3BB-4777-9F5D-6B232713BB0F}" presName="connectorText" presStyleLbl="sibTrans2D1" presStyleIdx="3" presStyleCnt="7"/>
      <dgm:spPr/>
    </dgm:pt>
    <dgm:pt modelId="{F3D9B19C-9F14-4D3D-BD43-B19EA3C9F7A0}" type="pres">
      <dgm:prSet presAssocID="{E8DA44A3-C164-4241-8230-C1825A5CCA06}" presName="node" presStyleLbl="node1" presStyleIdx="3" presStyleCnt="7">
        <dgm:presLayoutVars>
          <dgm:bulletEnabled val="1"/>
        </dgm:presLayoutVars>
      </dgm:prSet>
      <dgm:spPr/>
    </dgm:pt>
    <dgm:pt modelId="{F134F861-1720-47DE-9B33-9627F0CCA854}" type="pres">
      <dgm:prSet presAssocID="{D7B3E737-141D-47D2-BE23-DB8C54AC1F29}" presName="parTrans" presStyleLbl="sibTrans2D1" presStyleIdx="4" presStyleCnt="7"/>
      <dgm:spPr/>
    </dgm:pt>
    <dgm:pt modelId="{5E06CC9A-DE1A-4047-A5BD-73CCEC7F76A6}" type="pres">
      <dgm:prSet presAssocID="{D7B3E737-141D-47D2-BE23-DB8C54AC1F29}" presName="connectorText" presStyleLbl="sibTrans2D1" presStyleIdx="4" presStyleCnt="7"/>
      <dgm:spPr/>
    </dgm:pt>
    <dgm:pt modelId="{E789EADC-069A-458A-AC17-2FE6E9BEC389}" type="pres">
      <dgm:prSet presAssocID="{9ADE90EC-901F-46E5-AB3E-C00765DE48CC}" presName="node" presStyleLbl="node1" presStyleIdx="4" presStyleCnt="7">
        <dgm:presLayoutVars>
          <dgm:bulletEnabled val="1"/>
        </dgm:presLayoutVars>
      </dgm:prSet>
      <dgm:spPr/>
    </dgm:pt>
    <dgm:pt modelId="{16C8CB1A-EBC8-4D6C-BBA3-94C8A7F9BDD1}" type="pres">
      <dgm:prSet presAssocID="{F1A62970-3CF6-4612-8AFD-B61CF0960079}" presName="parTrans" presStyleLbl="sibTrans2D1" presStyleIdx="5" presStyleCnt="7"/>
      <dgm:spPr/>
    </dgm:pt>
    <dgm:pt modelId="{700C8AB6-6512-41F6-A910-0A6F2643226D}" type="pres">
      <dgm:prSet presAssocID="{F1A62970-3CF6-4612-8AFD-B61CF0960079}" presName="connectorText" presStyleLbl="sibTrans2D1" presStyleIdx="5" presStyleCnt="7"/>
      <dgm:spPr/>
    </dgm:pt>
    <dgm:pt modelId="{4279B78D-60B6-4489-810A-2F8C6A9C4006}" type="pres">
      <dgm:prSet presAssocID="{7E1D0A9A-804F-48CF-A36C-8BD95E5A8EDC}" presName="node" presStyleLbl="node1" presStyleIdx="5" presStyleCnt="7">
        <dgm:presLayoutVars>
          <dgm:bulletEnabled val="1"/>
        </dgm:presLayoutVars>
      </dgm:prSet>
      <dgm:spPr/>
    </dgm:pt>
    <dgm:pt modelId="{76BFEC03-0C49-4B48-A06B-F1E2AA0918A2}" type="pres">
      <dgm:prSet presAssocID="{2D044A8B-3C50-45B9-9F2F-A939D31DB2FF}" presName="parTrans" presStyleLbl="sibTrans2D1" presStyleIdx="6" presStyleCnt="7"/>
      <dgm:spPr/>
    </dgm:pt>
    <dgm:pt modelId="{09CAA9A4-27A6-4E93-A4CA-9A6DA85AC926}" type="pres">
      <dgm:prSet presAssocID="{2D044A8B-3C50-45B9-9F2F-A939D31DB2FF}" presName="connectorText" presStyleLbl="sibTrans2D1" presStyleIdx="6" presStyleCnt="7"/>
      <dgm:spPr/>
    </dgm:pt>
    <dgm:pt modelId="{F7C43398-1F45-4474-8647-8C13F6876252}" type="pres">
      <dgm:prSet presAssocID="{F6F7724C-05A7-4A19-85C6-9E154AEAC1E4}" presName="node" presStyleLbl="node1" presStyleIdx="6" presStyleCnt="7">
        <dgm:presLayoutVars>
          <dgm:bulletEnabled val="1"/>
        </dgm:presLayoutVars>
      </dgm:prSet>
      <dgm:spPr/>
    </dgm:pt>
  </dgm:ptLst>
  <dgm:cxnLst>
    <dgm:cxn modelId="{086EB004-C0E9-46A5-919F-7DC2D64C1738}" type="presOf" srcId="{F1A62970-3CF6-4612-8AFD-B61CF0960079}" destId="{700C8AB6-6512-41F6-A910-0A6F2643226D}" srcOrd="1" destOrd="0" presId="urn:microsoft.com/office/officeart/2005/8/layout/radial5"/>
    <dgm:cxn modelId="{FC6CC209-919C-4F70-82F3-76447C7CA0F2}" type="presOf" srcId="{BB79E9E1-A03F-45F5-A359-CEEE8BF642B1}" destId="{F5886800-3BFE-4DDC-B1E7-A71A2B61B856}" srcOrd="1" destOrd="0" presId="urn:microsoft.com/office/officeart/2005/8/layout/radial5"/>
    <dgm:cxn modelId="{30100318-6393-4995-AF50-A31131B343D5}" type="presOf" srcId="{F6F7724C-05A7-4A19-85C6-9E154AEAC1E4}" destId="{F7C43398-1F45-4474-8647-8C13F6876252}" srcOrd="0" destOrd="0" presId="urn:microsoft.com/office/officeart/2005/8/layout/radial5"/>
    <dgm:cxn modelId="{1865291D-2C28-47B1-AB7E-CB341C17D688}" type="presOf" srcId="{4A9EB114-F3BB-4777-9F5D-6B232713BB0F}" destId="{80C286F5-B3EA-4E3C-B785-CA6E0D3D175E}" srcOrd="1" destOrd="0" presId="urn:microsoft.com/office/officeart/2005/8/layout/radial5"/>
    <dgm:cxn modelId="{37BCBF24-16D1-4901-A45E-A60B0DB74CF5}" type="presOf" srcId="{475F86B3-1F29-4DDB-B88A-6B12B0DCC216}" destId="{99AB0918-885C-4B02-93D6-43C3C15A7227}" srcOrd="0" destOrd="0" presId="urn:microsoft.com/office/officeart/2005/8/layout/radial5"/>
    <dgm:cxn modelId="{8FD37129-B178-49A1-8612-88D6C26D1F58}" type="presOf" srcId="{02F0D297-26D5-468F-BAA8-37431C7C8BAC}" destId="{F554A7FB-A140-4AFD-97A0-E97F6A7AB706}" srcOrd="0" destOrd="0" presId="urn:microsoft.com/office/officeart/2005/8/layout/radial5"/>
    <dgm:cxn modelId="{86F0E32D-A83F-42B6-99D1-B9A7D4FB6987}" type="presOf" srcId="{9FBF0B59-18BC-4493-97EE-7AA2BBF2737A}" destId="{E6C7731E-514C-44C2-8E20-D9F05836645D}" srcOrd="0" destOrd="0" presId="urn:microsoft.com/office/officeart/2005/8/layout/radial5"/>
    <dgm:cxn modelId="{82D44D37-F147-471B-A4E7-B03F0EEAC5D0}" type="presOf" srcId="{E8DA44A3-C164-4241-8230-C1825A5CCA06}" destId="{F3D9B19C-9F14-4D3D-BD43-B19EA3C9F7A0}" srcOrd="0" destOrd="0" presId="urn:microsoft.com/office/officeart/2005/8/layout/radial5"/>
    <dgm:cxn modelId="{6FDD1D5B-527B-4EF9-897A-DAFC4DB95264}" type="presOf" srcId="{9DDEC916-60F7-496E-A275-DEC955ACCFCF}" destId="{3ACC7B52-CB0A-45C4-BF37-BE5220E03B66}" srcOrd="0" destOrd="0" presId="urn:microsoft.com/office/officeart/2005/8/layout/radial5"/>
    <dgm:cxn modelId="{0D799645-1AEF-4D30-A71F-0047F444E4CD}" srcId="{475F86B3-1F29-4DDB-B88A-6B12B0DCC216}" destId="{9ADE90EC-901F-46E5-AB3E-C00765DE48CC}" srcOrd="4" destOrd="0" parTransId="{D7B3E737-141D-47D2-BE23-DB8C54AC1F29}" sibTransId="{4462DDED-7FB2-422E-B048-5A3677A58ED9}"/>
    <dgm:cxn modelId="{17B3B474-B0BB-41BD-929F-E91EB774EC88}" srcId="{475F86B3-1F29-4DDB-B88A-6B12B0DCC216}" destId="{E8DA44A3-C164-4241-8230-C1825A5CCA06}" srcOrd="3" destOrd="0" parTransId="{4A9EB114-F3BB-4777-9F5D-6B232713BB0F}" sibTransId="{8A7D2197-75D1-4767-A65D-03B31D7ACB60}"/>
    <dgm:cxn modelId="{FEE48156-A7A4-4421-BEB8-4C782D65152F}" srcId="{02F0D297-26D5-468F-BAA8-37431C7C8BAC}" destId="{475F86B3-1F29-4DDB-B88A-6B12B0DCC216}" srcOrd="0" destOrd="0" parTransId="{E61E5C39-3C9A-4696-8D99-569BD71F0E22}" sibTransId="{90CE572C-B190-4CF4-904C-0DBF00BE274D}"/>
    <dgm:cxn modelId="{039E205A-D0DC-41B0-BFF1-3917B620A047}" type="presOf" srcId="{7E1D0A9A-804F-48CF-A36C-8BD95E5A8EDC}" destId="{4279B78D-60B6-4489-810A-2F8C6A9C4006}" srcOrd="0" destOrd="0" presId="urn:microsoft.com/office/officeart/2005/8/layout/radial5"/>
    <dgm:cxn modelId="{D3D22A91-1B9A-4E81-A788-1442AA516147}" srcId="{475F86B3-1F29-4DDB-B88A-6B12B0DCC216}" destId="{ADC900CC-90A0-4B6C-B981-432F91F3373E}" srcOrd="2" destOrd="0" parTransId="{A025B7DE-D0BB-4744-B7DF-6018DF11E64E}" sibTransId="{02712892-6286-45C1-9D5A-65A8A1FBCEC7}"/>
    <dgm:cxn modelId="{FD2E5A9C-DC33-4AEB-A6CD-A6D91A2D965B}" type="presOf" srcId="{9ADE90EC-901F-46E5-AB3E-C00765DE48CC}" destId="{E789EADC-069A-458A-AC17-2FE6E9BEC389}" srcOrd="0" destOrd="0" presId="urn:microsoft.com/office/officeart/2005/8/layout/radial5"/>
    <dgm:cxn modelId="{F6D5AB9C-1FAD-4C5E-A1D4-C919DF5ED151}" type="presOf" srcId="{A025B7DE-D0BB-4744-B7DF-6018DF11E64E}" destId="{AC8B1996-72EF-4F87-9F0D-D334B187D4AD}" srcOrd="0" destOrd="0" presId="urn:microsoft.com/office/officeart/2005/8/layout/radial5"/>
    <dgm:cxn modelId="{E933859D-F5E9-48F7-BC17-34CD7508A812}" srcId="{475F86B3-1F29-4DDB-B88A-6B12B0DCC216}" destId="{F6F7724C-05A7-4A19-85C6-9E154AEAC1E4}" srcOrd="6" destOrd="0" parTransId="{2D044A8B-3C50-45B9-9F2F-A939D31DB2FF}" sibTransId="{FEA70AE8-4193-4313-8417-BBB76927E88C}"/>
    <dgm:cxn modelId="{B5DE2FA7-F577-4B45-B433-E203126B1FA3}" type="presOf" srcId="{ADC900CC-90A0-4B6C-B981-432F91F3373E}" destId="{F922F331-29D1-495C-A280-A65CD3AAA4ED}" srcOrd="0" destOrd="0" presId="urn:microsoft.com/office/officeart/2005/8/layout/radial5"/>
    <dgm:cxn modelId="{A8B143A7-C543-42AF-8C23-9C9C169EC6BD}" type="presOf" srcId="{4A9EB114-F3BB-4777-9F5D-6B232713BB0F}" destId="{22F357DD-EEA8-4130-A619-014E8EBD3756}" srcOrd="0" destOrd="0" presId="urn:microsoft.com/office/officeart/2005/8/layout/radial5"/>
    <dgm:cxn modelId="{4578E6AE-295A-4119-82B1-685BA781DE62}" type="presOf" srcId="{F606ECEB-15C5-4804-A3C7-7A7BA5D7563A}" destId="{19A884B8-DAE3-42A1-8D9A-44F066EAB6E4}" srcOrd="0" destOrd="0" presId="urn:microsoft.com/office/officeart/2005/8/layout/radial5"/>
    <dgm:cxn modelId="{70F3E4BC-904C-4B90-A4B8-7A230AB65E8D}" srcId="{475F86B3-1F29-4DDB-B88A-6B12B0DCC216}" destId="{9FBF0B59-18BC-4493-97EE-7AA2BBF2737A}" srcOrd="1" destOrd="0" parTransId="{BB79E9E1-A03F-45F5-A359-CEEE8BF642B1}" sibTransId="{43599E62-1E7A-48BA-A5F0-79B7FCF70621}"/>
    <dgm:cxn modelId="{E65AAECF-787C-4DE3-BAF4-C5E8A7C4C327}" type="presOf" srcId="{F606ECEB-15C5-4804-A3C7-7A7BA5D7563A}" destId="{32AF22FA-66D1-4FF5-85CB-FB3E7E8DAF47}" srcOrd="1" destOrd="0" presId="urn:microsoft.com/office/officeart/2005/8/layout/radial5"/>
    <dgm:cxn modelId="{03F550D5-92BA-4392-AFE4-F8348846539D}" type="presOf" srcId="{2D044A8B-3C50-45B9-9F2F-A939D31DB2FF}" destId="{76BFEC03-0C49-4B48-A06B-F1E2AA0918A2}" srcOrd="0" destOrd="0" presId="urn:microsoft.com/office/officeart/2005/8/layout/radial5"/>
    <dgm:cxn modelId="{90BED0D7-4787-4A37-93E7-5BC38126A540}" type="presOf" srcId="{D7B3E737-141D-47D2-BE23-DB8C54AC1F29}" destId="{5E06CC9A-DE1A-4047-A5BD-73CCEC7F76A6}" srcOrd="1" destOrd="0" presId="urn:microsoft.com/office/officeart/2005/8/layout/radial5"/>
    <dgm:cxn modelId="{1570C5DB-2300-4AFA-90F8-2BB32796E57C}" type="presOf" srcId="{A025B7DE-D0BB-4744-B7DF-6018DF11E64E}" destId="{C2AB4D56-6AF7-4207-8F33-31F02813B62E}" srcOrd="1" destOrd="0" presId="urn:microsoft.com/office/officeart/2005/8/layout/radial5"/>
    <dgm:cxn modelId="{87E2FBDF-3701-48A7-8339-711D2EFB9043}" type="presOf" srcId="{F1A62970-3CF6-4612-8AFD-B61CF0960079}" destId="{16C8CB1A-EBC8-4D6C-BBA3-94C8A7F9BDD1}" srcOrd="0" destOrd="0" presId="urn:microsoft.com/office/officeart/2005/8/layout/radial5"/>
    <dgm:cxn modelId="{9C23A1E2-E30A-4006-BF28-C7415DF31572}" srcId="{475F86B3-1F29-4DDB-B88A-6B12B0DCC216}" destId="{7E1D0A9A-804F-48CF-A36C-8BD95E5A8EDC}" srcOrd="5" destOrd="0" parTransId="{F1A62970-3CF6-4612-8AFD-B61CF0960079}" sibTransId="{3E835C45-E1DF-44D0-A439-2A73962870E5}"/>
    <dgm:cxn modelId="{5FC438E7-B62F-4EF8-BB4B-B6EBB88964DD}" type="presOf" srcId="{BB79E9E1-A03F-45F5-A359-CEEE8BF642B1}" destId="{7F34F428-A9C6-4447-92CA-6146420DCDD2}" srcOrd="0" destOrd="0" presId="urn:microsoft.com/office/officeart/2005/8/layout/radial5"/>
    <dgm:cxn modelId="{8917D2E8-AA22-4AAA-AA77-9F035EEE4A11}" type="presOf" srcId="{2D044A8B-3C50-45B9-9F2F-A939D31DB2FF}" destId="{09CAA9A4-27A6-4E93-A4CA-9A6DA85AC926}" srcOrd="1" destOrd="0" presId="urn:microsoft.com/office/officeart/2005/8/layout/radial5"/>
    <dgm:cxn modelId="{B280F1ED-78F5-447E-B36F-B4A2AE820A98}" type="presOf" srcId="{D7B3E737-141D-47D2-BE23-DB8C54AC1F29}" destId="{F134F861-1720-47DE-9B33-9627F0CCA854}" srcOrd="0" destOrd="0" presId="urn:microsoft.com/office/officeart/2005/8/layout/radial5"/>
    <dgm:cxn modelId="{B1514CF3-1D1E-48C8-A0AD-3A83126E43EE}" srcId="{475F86B3-1F29-4DDB-B88A-6B12B0DCC216}" destId="{9DDEC916-60F7-496E-A275-DEC955ACCFCF}" srcOrd="0" destOrd="0" parTransId="{F606ECEB-15C5-4804-A3C7-7A7BA5D7563A}" sibTransId="{27AD10D3-A085-4A7D-87D7-3D6C47A0E141}"/>
    <dgm:cxn modelId="{2F82BBF2-F2B5-46AE-8220-530525B8C500}" type="presParOf" srcId="{F554A7FB-A140-4AFD-97A0-E97F6A7AB706}" destId="{99AB0918-885C-4B02-93D6-43C3C15A7227}" srcOrd="0" destOrd="0" presId="urn:microsoft.com/office/officeart/2005/8/layout/radial5"/>
    <dgm:cxn modelId="{5977B75F-9A6C-479B-8699-8EE982033B26}" type="presParOf" srcId="{F554A7FB-A140-4AFD-97A0-E97F6A7AB706}" destId="{19A884B8-DAE3-42A1-8D9A-44F066EAB6E4}" srcOrd="1" destOrd="0" presId="urn:microsoft.com/office/officeart/2005/8/layout/radial5"/>
    <dgm:cxn modelId="{3D946D91-F9C9-4164-909B-A5F4B25088C9}" type="presParOf" srcId="{19A884B8-DAE3-42A1-8D9A-44F066EAB6E4}" destId="{32AF22FA-66D1-4FF5-85CB-FB3E7E8DAF47}" srcOrd="0" destOrd="0" presId="urn:microsoft.com/office/officeart/2005/8/layout/radial5"/>
    <dgm:cxn modelId="{61D8E0C5-E8E5-4B82-888C-2CE6ABFB4F5D}" type="presParOf" srcId="{F554A7FB-A140-4AFD-97A0-E97F6A7AB706}" destId="{3ACC7B52-CB0A-45C4-BF37-BE5220E03B66}" srcOrd="2" destOrd="0" presId="urn:microsoft.com/office/officeart/2005/8/layout/radial5"/>
    <dgm:cxn modelId="{D28A6C19-8D5F-415B-8F6D-70CCC9C049BA}" type="presParOf" srcId="{F554A7FB-A140-4AFD-97A0-E97F6A7AB706}" destId="{7F34F428-A9C6-4447-92CA-6146420DCDD2}" srcOrd="3" destOrd="0" presId="urn:microsoft.com/office/officeart/2005/8/layout/radial5"/>
    <dgm:cxn modelId="{81A9E9C3-0B59-499D-A8E3-208B82CBEA02}" type="presParOf" srcId="{7F34F428-A9C6-4447-92CA-6146420DCDD2}" destId="{F5886800-3BFE-4DDC-B1E7-A71A2B61B856}" srcOrd="0" destOrd="0" presId="urn:microsoft.com/office/officeart/2005/8/layout/radial5"/>
    <dgm:cxn modelId="{4752150E-196C-4781-A1BF-9E287F4AE803}" type="presParOf" srcId="{F554A7FB-A140-4AFD-97A0-E97F6A7AB706}" destId="{E6C7731E-514C-44C2-8E20-D9F05836645D}" srcOrd="4" destOrd="0" presId="urn:microsoft.com/office/officeart/2005/8/layout/radial5"/>
    <dgm:cxn modelId="{0A6BDD01-291C-4412-A2BD-A690D08217F3}" type="presParOf" srcId="{F554A7FB-A140-4AFD-97A0-E97F6A7AB706}" destId="{AC8B1996-72EF-4F87-9F0D-D334B187D4AD}" srcOrd="5" destOrd="0" presId="urn:microsoft.com/office/officeart/2005/8/layout/radial5"/>
    <dgm:cxn modelId="{1F14F361-A9A0-4528-8731-C43B8D609AA6}" type="presParOf" srcId="{AC8B1996-72EF-4F87-9F0D-D334B187D4AD}" destId="{C2AB4D56-6AF7-4207-8F33-31F02813B62E}" srcOrd="0" destOrd="0" presId="urn:microsoft.com/office/officeart/2005/8/layout/radial5"/>
    <dgm:cxn modelId="{40F09FBE-5F4A-4A07-80F4-7B4766616910}" type="presParOf" srcId="{F554A7FB-A140-4AFD-97A0-E97F6A7AB706}" destId="{F922F331-29D1-495C-A280-A65CD3AAA4ED}" srcOrd="6" destOrd="0" presId="urn:microsoft.com/office/officeart/2005/8/layout/radial5"/>
    <dgm:cxn modelId="{B654CDA2-33DB-4160-AE28-E1727414E976}" type="presParOf" srcId="{F554A7FB-A140-4AFD-97A0-E97F6A7AB706}" destId="{22F357DD-EEA8-4130-A619-014E8EBD3756}" srcOrd="7" destOrd="0" presId="urn:microsoft.com/office/officeart/2005/8/layout/radial5"/>
    <dgm:cxn modelId="{85EA7DA7-1B6A-469D-90FA-26D47E756205}" type="presParOf" srcId="{22F357DD-EEA8-4130-A619-014E8EBD3756}" destId="{80C286F5-B3EA-4E3C-B785-CA6E0D3D175E}" srcOrd="0" destOrd="0" presId="urn:microsoft.com/office/officeart/2005/8/layout/radial5"/>
    <dgm:cxn modelId="{A3A7EDC6-80A4-40B1-9CD9-214D84291C4C}" type="presParOf" srcId="{F554A7FB-A140-4AFD-97A0-E97F6A7AB706}" destId="{F3D9B19C-9F14-4D3D-BD43-B19EA3C9F7A0}" srcOrd="8" destOrd="0" presId="urn:microsoft.com/office/officeart/2005/8/layout/radial5"/>
    <dgm:cxn modelId="{56EC32A4-3A46-46C7-9B2A-724BA3E1F75D}" type="presParOf" srcId="{F554A7FB-A140-4AFD-97A0-E97F6A7AB706}" destId="{F134F861-1720-47DE-9B33-9627F0CCA854}" srcOrd="9" destOrd="0" presId="urn:microsoft.com/office/officeart/2005/8/layout/radial5"/>
    <dgm:cxn modelId="{AF8EE7FC-C400-4372-80C0-AD452864C5DC}" type="presParOf" srcId="{F134F861-1720-47DE-9B33-9627F0CCA854}" destId="{5E06CC9A-DE1A-4047-A5BD-73CCEC7F76A6}" srcOrd="0" destOrd="0" presId="urn:microsoft.com/office/officeart/2005/8/layout/radial5"/>
    <dgm:cxn modelId="{DB501454-461F-491A-A490-EF269BEB8F4D}" type="presParOf" srcId="{F554A7FB-A140-4AFD-97A0-E97F6A7AB706}" destId="{E789EADC-069A-458A-AC17-2FE6E9BEC389}" srcOrd="10" destOrd="0" presId="urn:microsoft.com/office/officeart/2005/8/layout/radial5"/>
    <dgm:cxn modelId="{5F4D4ECC-186D-427A-9DCA-B915B81D9EBE}" type="presParOf" srcId="{F554A7FB-A140-4AFD-97A0-E97F6A7AB706}" destId="{16C8CB1A-EBC8-4D6C-BBA3-94C8A7F9BDD1}" srcOrd="11" destOrd="0" presId="urn:microsoft.com/office/officeart/2005/8/layout/radial5"/>
    <dgm:cxn modelId="{F95B59E4-D0EF-4BF7-ABA1-1395AD0FD1FD}" type="presParOf" srcId="{16C8CB1A-EBC8-4D6C-BBA3-94C8A7F9BDD1}" destId="{700C8AB6-6512-41F6-A910-0A6F2643226D}" srcOrd="0" destOrd="0" presId="urn:microsoft.com/office/officeart/2005/8/layout/radial5"/>
    <dgm:cxn modelId="{4C075674-B743-4568-996F-8EB9B5FC1E51}" type="presParOf" srcId="{F554A7FB-A140-4AFD-97A0-E97F6A7AB706}" destId="{4279B78D-60B6-4489-810A-2F8C6A9C4006}" srcOrd="12" destOrd="0" presId="urn:microsoft.com/office/officeart/2005/8/layout/radial5"/>
    <dgm:cxn modelId="{A0D3B285-82F8-49E4-80F0-9FBD428FC9B3}" type="presParOf" srcId="{F554A7FB-A140-4AFD-97A0-E97F6A7AB706}" destId="{76BFEC03-0C49-4B48-A06B-F1E2AA0918A2}" srcOrd="13" destOrd="0" presId="urn:microsoft.com/office/officeart/2005/8/layout/radial5"/>
    <dgm:cxn modelId="{9D57DA3E-241D-4B91-BB87-CC01B7F1C6BB}" type="presParOf" srcId="{76BFEC03-0C49-4B48-A06B-F1E2AA0918A2}" destId="{09CAA9A4-27A6-4E93-A4CA-9A6DA85AC926}" srcOrd="0" destOrd="0" presId="urn:microsoft.com/office/officeart/2005/8/layout/radial5"/>
    <dgm:cxn modelId="{90364106-DA63-4857-B589-FBC31EFCC48F}" type="presParOf" srcId="{F554A7FB-A140-4AFD-97A0-E97F6A7AB706}" destId="{F7C43398-1F45-4474-8647-8C13F6876252}" srcOrd="14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2F0D297-26D5-468F-BAA8-37431C7C8BAC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475F86B3-1F29-4DDB-B88A-6B12B0DCC216}">
      <dgm:prSet phldrT="[Text]"/>
      <dgm:spPr>
        <a:solidFill>
          <a:srgbClr val="656565"/>
        </a:solidFill>
      </dgm:spPr>
      <dgm:t>
        <a:bodyPr/>
        <a:lstStyle/>
        <a:p>
          <a:r>
            <a:rPr lang="en-GB">
              <a:latin typeface="Arial MT"/>
            </a:rPr>
            <a:t>User behaviour</a:t>
          </a:r>
        </a:p>
      </dgm:t>
    </dgm:pt>
    <dgm:pt modelId="{E61E5C39-3C9A-4696-8D99-569BD71F0E22}" type="parTrans" cxnId="{FEE48156-A7A4-4421-BEB8-4C782D65152F}">
      <dgm:prSet/>
      <dgm:spPr/>
      <dgm:t>
        <a:bodyPr/>
        <a:lstStyle/>
        <a:p>
          <a:endParaRPr lang="en-GB">
            <a:latin typeface="Arial MT"/>
          </a:endParaRPr>
        </a:p>
      </dgm:t>
    </dgm:pt>
    <dgm:pt modelId="{90CE572C-B190-4CF4-904C-0DBF00BE274D}" type="sibTrans" cxnId="{FEE48156-A7A4-4421-BEB8-4C782D65152F}">
      <dgm:prSet/>
      <dgm:spPr/>
      <dgm:t>
        <a:bodyPr/>
        <a:lstStyle/>
        <a:p>
          <a:endParaRPr lang="en-GB">
            <a:latin typeface="Arial MT"/>
          </a:endParaRPr>
        </a:p>
      </dgm:t>
    </dgm:pt>
    <dgm:pt modelId="{9DDEC916-60F7-496E-A275-DEC955ACCFCF}">
      <dgm:prSet phldrT="[Text]"/>
      <dgm:spPr>
        <a:solidFill>
          <a:srgbClr val="9DD7E4"/>
        </a:solidFill>
      </dgm:spPr>
      <dgm:t>
        <a:bodyPr/>
        <a:lstStyle/>
        <a:p>
          <a:r>
            <a:rPr lang="en-GB">
              <a:latin typeface="Arial MT"/>
            </a:rPr>
            <a:t>External e-mailing or sharing</a:t>
          </a:r>
        </a:p>
      </dgm:t>
    </dgm:pt>
    <dgm:pt modelId="{F606ECEB-15C5-4804-A3C7-7A7BA5D7563A}" type="parTrans" cxnId="{B1514CF3-1D1E-48C8-A0AD-3A83126E43EE}">
      <dgm:prSet/>
      <dgm:spPr>
        <a:solidFill>
          <a:srgbClr val="9DD7E4"/>
        </a:solidFill>
      </dgm:spPr>
      <dgm:t>
        <a:bodyPr/>
        <a:lstStyle/>
        <a:p>
          <a:endParaRPr lang="en-GB">
            <a:latin typeface="Arial MT"/>
          </a:endParaRPr>
        </a:p>
      </dgm:t>
    </dgm:pt>
    <dgm:pt modelId="{27AD10D3-A085-4A7D-87D7-3D6C47A0E141}" type="sibTrans" cxnId="{B1514CF3-1D1E-48C8-A0AD-3A83126E43EE}">
      <dgm:prSet/>
      <dgm:spPr/>
      <dgm:t>
        <a:bodyPr/>
        <a:lstStyle/>
        <a:p>
          <a:endParaRPr lang="en-GB">
            <a:latin typeface="Arial MT"/>
          </a:endParaRPr>
        </a:p>
      </dgm:t>
    </dgm:pt>
    <dgm:pt modelId="{9FBF0B59-18BC-4493-97EE-7AA2BBF2737A}">
      <dgm:prSet phldrT="[Text]"/>
      <dgm:spPr>
        <a:solidFill>
          <a:srgbClr val="284389"/>
        </a:solidFill>
      </dgm:spPr>
      <dgm:t>
        <a:bodyPr/>
        <a:lstStyle/>
        <a:p>
          <a:r>
            <a:rPr lang="en-GB">
              <a:latin typeface="Arial MT"/>
            </a:rPr>
            <a:t>Change of classification</a:t>
          </a:r>
        </a:p>
      </dgm:t>
    </dgm:pt>
    <dgm:pt modelId="{BB79E9E1-A03F-45F5-A359-CEEE8BF642B1}" type="parTrans" cxnId="{70F3E4BC-904C-4B90-A4B8-7A230AB65E8D}">
      <dgm:prSet/>
      <dgm:spPr>
        <a:solidFill>
          <a:srgbClr val="284389"/>
        </a:solidFill>
      </dgm:spPr>
      <dgm:t>
        <a:bodyPr/>
        <a:lstStyle/>
        <a:p>
          <a:endParaRPr lang="en-GB">
            <a:latin typeface="Arial MT"/>
          </a:endParaRPr>
        </a:p>
      </dgm:t>
    </dgm:pt>
    <dgm:pt modelId="{43599E62-1E7A-48BA-A5F0-79B7FCF70621}" type="sibTrans" cxnId="{70F3E4BC-904C-4B90-A4B8-7A230AB65E8D}">
      <dgm:prSet/>
      <dgm:spPr/>
      <dgm:t>
        <a:bodyPr/>
        <a:lstStyle/>
        <a:p>
          <a:endParaRPr lang="en-GB">
            <a:latin typeface="Arial MT"/>
          </a:endParaRPr>
        </a:p>
      </dgm:t>
    </dgm:pt>
    <dgm:pt modelId="{ADC900CC-90A0-4B6C-B981-432F91F3373E}">
      <dgm:prSet phldrT="[Text]"/>
      <dgm:spPr>
        <a:solidFill>
          <a:srgbClr val="646464"/>
        </a:solidFill>
      </dgm:spPr>
      <dgm:t>
        <a:bodyPr/>
        <a:lstStyle/>
        <a:p>
          <a:r>
            <a:rPr lang="en-GB">
              <a:latin typeface="Arial MT"/>
            </a:rPr>
            <a:t>Print, copy to USB, clip board or screenshot</a:t>
          </a:r>
        </a:p>
      </dgm:t>
    </dgm:pt>
    <dgm:pt modelId="{A025B7DE-D0BB-4744-B7DF-6018DF11E64E}" type="parTrans" cxnId="{D3D22A91-1B9A-4E81-A788-1442AA516147}">
      <dgm:prSet/>
      <dgm:spPr>
        <a:solidFill>
          <a:srgbClr val="646464"/>
        </a:solidFill>
      </dgm:spPr>
      <dgm:t>
        <a:bodyPr/>
        <a:lstStyle/>
        <a:p>
          <a:endParaRPr lang="en-GB">
            <a:latin typeface="Arial MT"/>
          </a:endParaRPr>
        </a:p>
      </dgm:t>
    </dgm:pt>
    <dgm:pt modelId="{02712892-6286-45C1-9D5A-65A8A1FBCEC7}" type="sibTrans" cxnId="{D3D22A91-1B9A-4E81-A788-1442AA516147}">
      <dgm:prSet/>
      <dgm:spPr/>
      <dgm:t>
        <a:bodyPr/>
        <a:lstStyle/>
        <a:p>
          <a:endParaRPr lang="en-GB">
            <a:latin typeface="Arial MT"/>
          </a:endParaRPr>
        </a:p>
      </dgm:t>
    </dgm:pt>
    <dgm:pt modelId="{E8DA44A3-C164-4241-8230-C1825A5CCA06}">
      <dgm:prSet phldrT="[Text]"/>
      <dgm:spPr>
        <a:solidFill>
          <a:srgbClr val="9DD7E4"/>
        </a:solidFill>
      </dgm:spPr>
      <dgm:t>
        <a:bodyPr/>
        <a:lstStyle/>
        <a:p>
          <a:r>
            <a:rPr lang="en-GB">
              <a:latin typeface="Arial MT"/>
            </a:rPr>
            <a:t>File Classification mismatch: workspace and information</a:t>
          </a:r>
        </a:p>
      </dgm:t>
    </dgm:pt>
    <dgm:pt modelId="{4A9EB114-F3BB-4777-9F5D-6B232713BB0F}" type="parTrans" cxnId="{17B3B474-B0BB-41BD-929F-E91EB774EC88}">
      <dgm:prSet/>
      <dgm:spPr>
        <a:solidFill>
          <a:srgbClr val="9DD7E4"/>
        </a:solidFill>
      </dgm:spPr>
      <dgm:t>
        <a:bodyPr/>
        <a:lstStyle/>
        <a:p>
          <a:endParaRPr lang="en-GB">
            <a:latin typeface="Arial MT"/>
          </a:endParaRPr>
        </a:p>
      </dgm:t>
    </dgm:pt>
    <dgm:pt modelId="{8A7D2197-75D1-4767-A65D-03B31D7ACB60}" type="sibTrans" cxnId="{17B3B474-B0BB-41BD-929F-E91EB774EC88}">
      <dgm:prSet/>
      <dgm:spPr/>
      <dgm:t>
        <a:bodyPr/>
        <a:lstStyle/>
        <a:p>
          <a:endParaRPr lang="en-GB">
            <a:latin typeface="Arial MT"/>
          </a:endParaRPr>
        </a:p>
      </dgm:t>
    </dgm:pt>
    <dgm:pt modelId="{9ADE90EC-901F-46E5-AB3E-C00765DE48CC}">
      <dgm:prSet phldrT="[Text]"/>
      <dgm:spPr>
        <a:solidFill>
          <a:srgbClr val="284389"/>
        </a:solidFill>
      </dgm:spPr>
      <dgm:t>
        <a:bodyPr/>
        <a:lstStyle/>
        <a:p>
          <a:r>
            <a:rPr lang="en-GB">
              <a:latin typeface="Arial MT"/>
            </a:rPr>
            <a:t>Non-business location or hours access</a:t>
          </a:r>
        </a:p>
      </dgm:t>
    </dgm:pt>
    <dgm:pt modelId="{D7B3E737-141D-47D2-BE23-DB8C54AC1F29}" type="parTrans" cxnId="{0D799645-1AEF-4D30-A71F-0047F444E4CD}">
      <dgm:prSet/>
      <dgm:spPr>
        <a:solidFill>
          <a:srgbClr val="284389"/>
        </a:solidFill>
      </dgm:spPr>
      <dgm:t>
        <a:bodyPr/>
        <a:lstStyle/>
        <a:p>
          <a:endParaRPr lang="en-GB">
            <a:latin typeface="Arial MT"/>
          </a:endParaRPr>
        </a:p>
      </dgm:t>
    </dgm:pt>
    <dgm:pt modelId="{4462DDED-7FB2-422E-B048-5A3677A58ED9}" type="sibTrans" cxnId="{0D799645-1AEF-4D30-A71F-0047F444E4CD}">
      <dgm:prSet/>
      <dgm:spPr/>
      <dgm:t>
        <a:bodyPr/>
        <a:lstStyle/>
        <a:p>
          <a:endParaRPr lang="en-GB">
            <a:latin typeface="Arial MT"/>
          </a:endParaRPr>
        </a:p>
      </dgm:t>
    </dgm:pt>
    <dgm:pt modelId="{F6F7724C-05A7-4A19-85C6-9E154AEAC1E4}">
      <dgm:prSet phldrT="[Text]"/>
      <dgm:spPr>
        <a:solidFill>
          <a:srgbClr val="656565"/>
        </a:solidFill>
      </dgm:spPr>
      <dgm:t>
        <a:bodyPr/>
        <a:lstStyle/>
        <a:p>
          <a:r>
            <a:rPr lang="en-GB">
              <a:latin typeface="Arial MT"/>
            </a:rPr>
            <a:t>Use of sensitive information in inappropriate places</a:t>
          </a:r>
        </a:p>
      </dgm:t>
    </dgm:pt>
    <dgm:pt modelId="{2D044A8B-3C50-45B9-9F2F-A939D31DB2FF}" type="parTrans" cxnId="{E933859D-F5E9-48F7-BC17-34CD7508A812}">
      <dgm:prSet/>
      <dgm:spPr>
        <a:solidFill>
          <a:srgbClr val="646464"/>
        </a:solidFill>
      </dgm:spPr>
      <dgm:t>
        <a:bodyPr/>
        <a:lstStyle/>
        <a:p>
          <a:endParaRPr lang="en-GB">
            <a:latin typeface="Arial MT"/>
          </a:endParaRPr>
        </a:p>
      </dgm:t>
    </dgm:pt>
    <dgm:pt modelId="{FEA70AE8-4193-4313-8417-BBB76927E88C}" type="sibTrans" cxnId="{E933859D-F5E9-48F7-BC17-34CD7508A812}">
      <dgm:prSet/>
      <dgm:spPr/>
      <dgm:t>
        <a:bodyPr/>
        <a:lstStyle/>
        <a:p>
          <a:endParaRPr lang="en-GB">
            <a:latin typeface="Arial MT"/>
          </a:endParaRPr>
        </a:p>
      </dgm:t>
    </dgm:pt>
    <dgm:pt modelId="{A66F202F-9C9C-4DFC-B16B-4255CAF68C54}">
      <dgm:prSet phldrT="[Text]"/>
      <dgm:spPr>
        <a:solidFill>
          <a:srgbClr val="284389"/>
        </a:solidFill>
      </dgm:spPr>
      <dgm:t>
        <a:bodyPr/>
        <a:lstStyle/>
        <a:p>
          <a:r>
            <a:rPr lang="en-GB" dirty="0">
              <a:latin typeface="Arial MT"/>
            </a:rPr>
            <a:t>Misconduct in working with others</a:t>
          </a:r>
        </a:p>
      </dgm:t>
    </dgm:pt>
    <dgm:pt modelId="{F334F490-3EAE-475E-9682-94B2A7D8AE05}" type="parTrans" cxnId="{F65D14A0-CE55-4D16-AF1E-2D3A97E7C169}">
      <dgm:prSet/>
      <dgm:spPr>
        <a:solidFill>
          <a:srgbClr val="284389"/>
        </a:solidFill>
      </dgm:spPr>
      <dgm:t>
        <a:bodyPr/>
        <a:lstStyle/>
        <a:p>
          <a:endParaRPr lang="en-GB">
            <a:latin typeface="Arial MT"/>
          </a:endParaRPr>
        </a:p>
      </dgm:t>
    </dgm:pt>
    <dgm:pt modelId="{1C557702-FF77-4427-BF95-63B46572C463}" type="sibTrans" cxnId="{F65D14A0-CE55-4D16-AF1E-2D3A97E7C169}">
      <dgm:prSet/>
      <dgm:spPr/>
      <dgm:t>
        <a:bodyPr/>
        <a:lstStyle/>
        <a:p>
          <a:endParaRPr lang="en-GB">
            <a:latin typeface="Arial MT"/>
          </a:endParaRPr>
        </a:p>
      </dgm:t>
    </dgm:pt>
    <dgm:pt modelId="{F554A7FB-A140-4AFD-97A0-E97F6A7AB706}" type="pres">
      <dgm:prSet presAssocID="{02F0D297-26D5-468F-BAA8-37431C7C8BAC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99AB0918-885C-4B02-93D6-43C3C15A7227}" type="pres">
      <dgm:prSet presAssocID="{475F86B3-1F29-4DDB-B88A-6B12B0DCC216}" presName="centerShape" presStyleLbl="node0" presStyleIdx="0" presStyleCnt="1"/>
      <dgm:spPr/>
    </dgm:pt>
    <dgm:pt modelId="{19A884B8-DAE3-42A1-8D9A-44F066EAB6E4}" type="pres">
      <dgm:prSet presAssocID="{F606ECEB-15C5-4804-A3C7-7A7BA5D7563A}" presName="parTrans" presStyleLbl="sibTrans2D1" presStyleIdx="0" presStyleCnt="7"/>
      <dgm:spPr/>
    </dgm:pt>
    <dgm:pt modelId="{32AF22FA-66D1-4FF5-85CB-FB3E7E8DAF47}" type="pres">
      <dgm:prSet presAssocID="{F606ECEB-15C5-4804-A3C7-7A7BA5D7563A}" presName="connectorText" presStyleLbl="sibTrans2D1" presStyleIdx="0" presStyleCnt="7"/>
      <dgm:spPr/>
    </dgm:pt>
    <dgm:pt modelId="{3ACC7B52-CB0A-45C4-BF37-BE5220E03B66}" type="pres">
      <dgm:prSet presAssocID="{9DDEC916-60F7-496E-A275-DEC955ACCFCF}" presName="node" presStyleLbl="node1" presStyleIdx="0" presStyleCnt="7">
        <dgm:presLayoutVars>
          <dgm:bulletEnabled val="1"/>
        </dgm:presLayoutVars>
      </dgm:prSet>
      <dgm:spPr/>
    </dgm:pt>
    <dgm:pt modelId="{7F34F428-A9C6-4447-92CA-6146420DCDD2}" type="pres">
      <dgm:prSet presAssocID="{BB79E9E1-A03F-45F5-A359-CEEE8BF642B1}" presName="parTrans" presStyleLbl="sibTrans2D1" presStyleIdx="1" presStyleCnt="7"/>
      <dgm:spPr/>
    </dgm:pt>
    <dgm:pt modelId="{F5886800-3BFE-4DDC-B1E7-A71A2B61B856}" type="pres">
      <dgm:prSet presAssocID="{BB79E9E1-A03F-45F5-A359-CEEE8BF642B1}" presName="connectorText" presStyleLbl="sibTrans2D1" presStyleIdx="1" presStyleCnt="7"/>
      <dgm:spPr/>
    </dgm:pt>
    <dgm:pt modelId="{E6C7731E-514C-44C2-8E20-D9F05836645D}" type="pres">
      <dgm:prSet presAssocID="{9FBF0B59-18BC-4493-97EE-7AA2BBF2737A}" presName="node" presStyleLbl="node1" presStyleIdx="1" presStyleCnt="7">
        <dgm:presLayoutVars>
          <dgm:bulletEnabled val="1"/>
        </dgm:presLayoutVars>
      </dgm:prSet>
      <dgm:spPr/>
    </dgm:pt>
    <dgm:pt modelId="{AC8B1996-72EF-4F87-9F0D-D334B187D4AD}" type="pres">
      <dgm:prSet presAssocID="{A025B7DE-D0BB-4744-B7DF-6018DF11E64E}" presName="parTrans" presStyleLbl="sibTrans2D1" presStyleIdx="2" presStyleCnt="7"/>
      <dgm:spPr/>
    </dgm:pt>
    <dgm:pt modelId="{C2AB4D56-6AF7-4207-8F33-31F02813B62E}" type="pres">
      <dgm:prSet presAssocID="{A025B7DE-D0BB-4744-B7DF-6018DF11E64E}" presName="connectorText" presStyleLbl="sibTrans2D1" presStyleIdx="2" presStyleCnt="7"/>
      <dgm:spPr/>
    </dgm:pt>
    <dgm:pt modelId="{F922F331-29D1-495C-A280-A65CD3AAA4ED}" type="pres">
      <dgm:prSet presAssocID="{ADC900CC-90A0-4B6C-B981-432F91F3373E}" presName="node" presStyleLbl="node1" presStyleIdx="2" presStyleCnt="7">
        <dgm:presLayoutVars>
          <dgm:bulletEnabled val="1"/>
        </dgm:presLayoutVars>
      </dgm:prSet>
      <dgm:spPr/>
    </dgm:pt>
    <dgm:pt modelId="{22F357DD-EEA8-4130-A619-014E8EBD3756}" type="pres">
      <dgm:prSet presAssocID="{4A9EB114-F3BB-4777-9F5D-6B232713BB0F}" presName="parTrans" presStyleLbl="sibTrans2D1" presStyleIdx="3" presStyleCnt="7"/>
      <dgm:spPr/>
    </dgm:pt>
    <dgm:pt modelId="{80C286F5-B3EA-4E3C-B785-CA6E0D3D175E}" type="pres">
      <dgm:prSet presAssocID="{4A9EB114-F3BB-4777-9F5D-6B232713BB0F}" presName="connectorText" presStyleLbl="sibTrans2D1" presStyleIdx="3" presStyleCnt="7"/>
      <dgm:spPr/>
    </dgm:pt>
    <dgm:pt modelId="{F3D9B19C-9F14-4D3D-BD43-B19EA3C9F7A0}" type="pres">
      <dgm:prSet presAssocID="{E8DA44A3-C164-4241-8230-C1825A5CCA06}" presName="node" presStyleLbl="node1" presStyleIdx="3" presStyleCnt="7">
        <dgm:presLayoutVars>
          <dgm:bulletEnabled val="1"/>
        </dgm:presLayoutVars>
      </dgm:prSet>
      <dgm:spPr/>
    </dgm:pt>
    <dgm:pt modelId="{F134F861-1720-47DE-9B33-9627F0CCA854}" type="pres">
      <dgm:prSet presAssocID="{D7B3E737-141D-47D2-BE23-DB8C54AC1F29}" presName="parTrans" presStyleLbl="sibTrans2D1" presStyleIdx="4" presStyleCnt="7"/>
      <dgm:spPr/>
    </dgm:pt>
    <dgm:pt modelId="{5E06CC9A-DE1A-4047-A5BD-73CCEC7F76A6}" type="pres">
      <dgm:prSet presAssocID="{D7B3E737-141D-47D2-BE23-DB8C54AC1F29}" presName="connectorText" presStyleLbl="sibTrans2D1" presStyleIdx="4" presStyleCnt="7"/>
      <dgm:spPr/>
    </dgm:pt>
    <dgm:pt modelId="{E789EADC-069A-458A-AC17-2FE6E9BEC389}" type="pres">
      <dgm:prSet presAssocID="{9ADE90EC-901F-46E5-AB3E-C00765DE48CC}" presName="node" presStyleLbl="node1" presStyleIdx="4" presStyleCnt="7">
        <dgm:presLayoutVars>
          <dgm:bulletEnabled val="1"/>
        </dgm:presLayoutVars>
      </dgm:prSet>
      <dgm:spPr/>
    </dgm:pt>
    <dgm:pt modelId="{76BFEC03-0C49-4B48-A06B-F1E2AA0918A2}" type="pres">
      <dgm:prSet presAssocID="{2D044A8B-3C50-45B9-9F2F-A939D31DB2FF}" presName="parTrans" presStyleLbl="sibTrans2D1" presStyleIdx="5" presStyleCnt="7"/>
      <dgm:spPr/>
    </dgm:pt>
    <dgm:pt modelId="{09CAA9A4-27A6-4E93-A4CA-9A6DA85AC926}" type="pres">
      <dgm:prSet presAssocID="{2D044A8B-3C50-45B9-9F2F-A939D31DB2FF}" presName="connectorText" presStyleLbl="sibTrans2D1" presStyleIdx="5" presStyleCnt="7"/>
      <dgm:spPr/>
    </dgm:pt>
    <dgm:pt modelId="{F7C43398-1F45-4474-8647-8C13F6876252}" type="pres">
      <dgm:prSet presAssocID="{F6F7724C-05A7-4A19-85C6-9E154AEAC1E4}" presName="node" presStyleLbl="node1" presStyleIdx="5" presStyleCnt="7">
        <dgm:presLayoutVars>
          <dgm:bulletEnabled val="1"/>
        </dgm:presLayoutVars>
      </dgm:prSet>
      <dgm:spPr/>
    </dgm:pt>
    <dgm:pt modelId="{123D21F8-0F53-4444-8088-BD75BFB1EE2A}" type="pres">
      <dgm:prSet presAssocID="{F334F490-3EAE-475E-9682-94B2A7D8AE05}" presName="parTrans" presStyleLbl="sibTrans2D1" presStyleIdx="6" presStyleCnt="7"/>
      <dgm:spPr/>
    </dgm:pt>
    <dgm:pt modelId="{894892CE-0C9F-42A8-83F8-47C62002866F}" type="pres">
      <dgm:prSet presAssocID="{F334F490-3EAE-475E-9682-94B2A7D8AE05}" presName="connectorText" presStyleLbl="sibTrans2D1" presStyleIdx="6" presStyleCnt="7"/>
      <dgm:spPr/>
    </dgm:pt>
    <dgm:pt modelId="{5FBF15D2-2A63-462B-AC61-3533E62B09F5}" type="pres">
      <dgm:prSet presAssocID="{A66F202F-9C9C-4DFC-B16B-4255CAF68C54}" presName="node" presStyleLbl="node1" presStyleIdx="6" presStyleCnt="7">
        <dgm:presLayoutVars>
          <dgm:bulletEnabled val="1"/>
        </dgm:presLayoutVars>
      </dgm:prSet>
      <dgm:spPr/>
    </dgm:pt>
  </dgm:ptLst>
  <dgm:cxnLst>
    <dgm:cxn modelId="{FC6CC209-919C-4F70-82F3-76447C7CA0F2}" type="presOf" srcId="{BB79E9E1-A03F-45F5-A359-CEEE8BF642B1}" destId="{F5886800-3BFE-4DDC-B1E7-A71A2B61B856}" srcOrd="1" destOrd="0" presId="urn:microsoft.com/office/officeart/2005/8/layout/radial5"/>
    <dgm:cxn modelId="{30100318-6393-4995-AF50-A31131B343D5}" type="presOf" srcId="{F6F7724C-05A7-4A19-85C6-9E154AEAC1E4}" destId="{F7C43398-1F45-4474-8647-8C13F6876252}" srcOrd="0" destOrd="0" presId="urn:microsoft.com/office/officeart/2005/8/layout/radial5"/>
    <dgm:cxn modelId="{1865291D-2C28-47B1-AB7E-CB341C17D688}" type="presOf" srcId="{4A9EB114-F3BB-4777-9F5D-6B232713BB0F}" destId="{80C286F5-B3EA-4E3C-B785-CA6E0D3D175E}" srcOrd="1" destOrd="0" presId="urn:microsoft.com/office/officeart/2005/8/layout/radial5"/>
    <dgm:cxn modelId="{37BCBF24-16D1-4901-A45E-A60B0DB74CF5}" type="presOf" srcId="{475F86B3-1F29-4DDB-B88A-6B12B0DCC216}" destId="{99AB0918-885C-4B02-93D6-43C3C15A7227}" srcOrd="0" destOrd="0" presId="urn:microsoft.com/office/officeart/2005/8/layout/radial5"/>
    <dgm:cxn modelId="{8FD37129-B178-49A1-8612-88D6C26D1F58}" type="presOf" srcId="{02F0D297-26D5-468F-BAA8-37431C7C8BAC}" destId="{F554A7FB-A140-4AFD-97A0-E97F6A7AB706}" srcOrd="0" destOrd="0" presId="urn:microsoft.com/office/officeart/2005/8/layout/radial5"/>
    <dgm:cxn modelId="{86F0E32D-A83F-42B6-99D1-B9A7D4FB6987}" type="presOf" srcId="{9FBF0B59-18BC-4493-97EE-7AA2BBF2737A}" destId="{E6C7731E-514C-44C2-8E20-D9F05836645D}" srcOrd="0" destOrd="0" presId="urn:microsoft.com/office/officeart/2005/8/layout/radial5"/>
    <dgm:cxn modelId="{82D44D37-F147-471B-A4E7-B03F0EEAC5D0}" type="presOf" srcId="{E8DA44A3-C164-4241-8230-C1825A5CCA06}" destId="{F3D9B19C-9F14-4D3D-BD43-B19EA3C9F7A0}" srcOrd="0" destOrd="0" presId="urn:microsoft.com/office/officeart/2005/8/layout/radial5"/>
    <dgm:cxn modelId="{6FDD1D5B-527B-4EF9-897A-DAFC4DB95264}" type="presOf" srcId="{9DDEC916-60F7-496E-A275-DEC955ACCFCF}" destId="{3ACC7B52-CB0A-45C4-BF37-BE5220E03B66}" srcOrd="0" destOrd="0" presId="urn:microsoft.com/office/officeart/2005/8/layout/radial5"/>
    <dgm:cxn modelId="{0D799645-1AEF-4D30-A71F-0047F444E4CD}" srcId="{475F86B3-1F29-4DDB-B88A-6B12B0DCC216}" destId="{9ADE90EC-901F-46E5-AB3E-C00765DE48CC}" srcOrd="4" destOrd="0" parTransId="{D7B3E737-141D-47D2-BE23-DB8C54AC1F29}" sibTransId="{4462DDED-7FB2-422E-B048-5A3677A58ED9}"/>
    <dgm:cxn modelId="{0321784B-B56A-408E-9773-62AF5FB77EDB}" type="presOf" srcId="{A66F202F-9C9C-4DFC-B16B-4255CAF68C54}" destId="{5FBF15D2-2A63-462B-AC61-3533E62B09F5}" srcOrd="0" destOrd="0" presId="urn:microsoft.com/office/officeart/2005/8/layout/radial5"/>
    <dgm:cxn modelId="{17B3B474-B0BB-41BD-929F-E91EB774EC88}" srcId="{475F86B3-1F29-4DDB-B88A-6B12B0DCC216}" destId="{E8DA44A3-C164-4241-8230-C1825A5CCA06}" srcOrd="3" destOrd="0" parTransId="{4A9EB114-F3BB-4777-9F5D-6B232713BB0F}" sibTransId="{8A7D2197-75D1-4767-A65D-03B31D7ACB60}"/>
    <dgm:cxn modelId="{FEE48156-A7A4-4421-BEB8-4C782D65152F}" srcId="{02F0D297-26D5-468F-BAA8-37431C7C8BAC}" destId="{475F86B3-1F29-4DDB-B88A-6B12B0DCC216}" srcOrd="0" destOrd="0" parTransId="{E61E5C39-3C9A-4696-8D99-569BD71F0E22}" sibTransId="{90CE572C-B190-4CF4-904C-0DBF00BE274D}"/>
    <dgm:cxn modelId="{AC9EC08B-C9F1-4DAB-84B0-08D9BF22EA53}" type="presOf" srcId="{F334F490-3EAE-475E-9682-94B2A7D8AE05}" destId="{894892CE-0C9F-42A8-83F8-47C62002866F}" srcOrd="1" destOrd="0" presId="urn:microsoft.com/office/officeart/2005/8/layout/radial5"/>
    <dgm:cxn modelId="{D3D22A91-1B9A-4E81-A788-1442AA516147}" srcId="{475F86B3-1F29-4DDB-B88A-6B12B0DCC216}" destId="{ADC900CC-90A0-4B6C-B981-432F91F3373E}" srcOrd="2" destOrd="0" parTransId="{A025B7DE-D0BB-4744-B7DF-6018DF11E64E}" sibTransId="{02712892-6286-45C1-9D5A-65A8A1FBCEC7}"/>
    <dgm:cxn modelId="{FD2E5A9C-DC33-4AEB-A6CD-A6D91A2D965B}" type="presOf" srcId="{9ADE90EC-901F-46E5-AB3E-C00765DE48CC}" destId="{E789EADC-069A-458A-AC17-2FE6E9BEC389}" srcOrd="0" destOrd="0" presId="urn:microsoft.com/office/officeart/2005/8/layout/radial5"/>
    <dgm:cxn modelId="{F6D5AB9C-1FAD-4C5E-A1D4-C919DF5ED151}" type="presOf" srcId="{A025B7DE-D0BB-4744-B7DF-6018DF11E64E}" destId="{AC8B1996-72EF-4F87-9F0D-D334B187D4AD}" srcOrd="0" destOrd="0" presId="urn:microsoft.com/office/officeart/2005/8/layout/radial5"/>
    <dgm:cxn modelId="{E933859D-F5E9-48F7-BC17-34CD7508A812}" srcId="{475F86B3-1F29-4DDB-B88A-6B12B0DCC216}" destId="{F6F7724C-05A7-4A19-85C6-9E154AEAC1E4}" srcOrd="5" destOrd="0" parTransId="{2D044A8B-3C50-45B9-9F2F-A939D31DB2FF}" sibTransId="{FEA70AE8-4193-4313-8417-BBB76927E88C}"/>
    <dgm:cxn modelId="{F65D14A0-CE55-4D16-AF1E-2D3A97E7C169}" srcId="{475F86B3-1F29-4DDB-B88A-6B12B0DCC216}" destId="{A66F202F-9C9C-4DFC-B16B-4255CAF68C54}" srcOrd="6" destOrd="0" parTransId="{F334F490-3EAE-475E-9682-94B2A7D8AE05}" sibTransId="{1C557702-FF77-4427-BF95-63B46572C463}"/>
    <dgm:cxn modelId="{B5DE2FA7-F577-4B45-B433-E203126B1FA3}" type="presOf" srcId="{ADC900CC-90A0-4B6C-B981-432F91F3373E}" destId="{F922F331-29D1-495C-A280-A65CD3AAA4ED}" srcOrd="0" destOrd="0" presId="urn:microsoft.com/office/officeart/2005/8/layout/radial5"/>
    <dgm:cxn modelId="{A8B143A7-C543-42AF-8C23-9C9C169EC6BD}" type="presOf" srcId="{4A9EB114-F3BB-4777-9F5D-6B232713BB0F}" destId="{22F357DD-EEA8-4130-A619-014E8EBD3756}" srcOrd="0" destOrd="0" presId="urn:microsoft.com/office/officeart/2005/8/layout/radial5"/>
    <dgm:cxn modelId="{4578E6AE-295A-4119-82B1-685BA781DE62}" type="presOf" srcId="{F606ECEB-15C5-4804-A3C7-7A7BA5D7563A}" destId="{19A884B8-DAE3-42A1-8D9A-44F066EAB6E4}" srcOrd="0" destOrd="0" presId="urn:microsoft.com/office/officeart/2005/8/layout/radial5"/>
    <dgm:cxn modelId="{70F3E4BC-904C-4B90-A4B8-7A230AB65E8D}" srcId="{475F86B3-1F29-4DDB-B88A-6B12B0DCC216}" destId="{9FBF0B59-18BC-4493-97EE-7AA2BBF2737A}" srcOrd="1" destOrd="0" parTransId="{BB79E9E1-A03F-45F5-A359-CEEE8BF642B1}" sibTransId="{43599E62-1E7A-48BA-A5F0-79B7FCF70621}"/>
    <dgm:cxn modelId="{B33C15C9-1974-4EAA-8A63-DFEBFE949572}" type="presOf" srcId="{F334F490-3EAE-475E-9682-94B2A7D8AE05}" destId="{123D21F8-0F53-4444-8088-BD75BFB1EE2A}" srcOrd="0" destOrd="0" presId="urn:microsoft.com/office/officeart/2005/8/layout/radial5"/>
    <dgm:cxn modelId="{E65AAECF-787C-4DE3-BAF4-C5E8A7C4C327}" type="presOf" srcId="{F606ECEB-15C5-4804-A3C7-7A7BA5D7563A}" destId="{32AF22FA-66D1-4FF5-85CB-FB3E7E8DAF47}" srcOrd="1" destOrd="0" presId="urn:microsoft.com/office/officeart/2005/8/layout/radial5"/>
    <dgm:cxn modelId="{03F550D5-92BA-4392-AFE4-F8348846539D}" type="presOf" srcId="{2D044A8B-3C50-45B9-9F2F-A939D31DB2FF}" destId="{76BFEC03-0C49-4B48-A06B-F1E2AA0918A2}" srcOrd="0" destOrd="0" presId="urn:microsoft.com/office/officeart/2005/8/layout/radial5"/>
    <dgm:cxn modelId="{90BED0D7-4787-4A37-93E7-5BC38126A540}" type="presOf" srcId="{D7B3E737-141D-47D2-BE23-DB8C54AC1F29}" destId="{5E06CC9A-DE1A-4047-A5BD-73CCEC7F76A6}" srcOrd="1" destOrd="0" presId="urn:microsoft.com/office/officeart/2005/8/layout/radial5"/>
    <dgm:cxn modelId="{1570C5DB-2300-4AFA-90F8-2BB32796E57C}" type="presOf" srcId="{A025B7DE-D0BB-4744-B7DF-6018DF11E64E}" destId="{C2AB4D56-6AF7-4207-8F33-31F02813B62E}" srcOrd="1" destOrd="0" presId="urn:microsoft.com/office/officeart/2005/8/layout/radial5"/>
    <dgm:cxn modelId="{5FC438E7-B62F-4EF8-BB4B-B6EBB88964DD}" type="presOf" srcId="{BB79E9E1-A03F-45F5-A359-CEEE8BF642B1}" destId="{7F34F428-A9C6-4447-92CA-6146420DCDD2}" srcOrd="0" destOrd="0" presId="urn:microsoft.com/office/officeart/2005/8/layout/radial5"/>
    <dgm:cxn modelId="{8917D2E8-AA22-4AAA-AA77-9F035EEE4A11}" type="presOf" srcId="{2D044A8B-3C50-45B9-9F2F-A939D31DB2FF}" destId="{09CAA9A4-27A6-4E93-A4CA-9A6DA85AC926}" srcOrd="1" destOrd="0" presId="urn:microsoft.com/office/officeart/2005/8/layout/radial5"/>
    <dgm:cxn modelId="{B280F1ED-78F5-447E-B36F-B4A2AE820A98}" type="presOf" srcId="{D7B3E737-141D-47D2-BE23-DB8C54AC1F29}" destId="{F134F861-1720-47DE-9B33-9627F0CCA854}" srcOrd="0" destOrd="0" presId="urn:microsoft.com/office/officeart/2005/8/layout/radial5"/>
    <dgm:cxn modelId="{B1514CF3-1D1E-48C8-A0AD-3A83126E43EE}" srcId="{475F86B3-1F29-4DDB-B88A-6B12B0DCC216}" destId="{9DDEC916-60F7-496E-A275-DEC955ACCFCF}" srcOrd="0" destOrd="0" parTransId="{F606ECEB-15C5-4804-A3C7-7A7BA5D7563A}" sibTransId="{27AD10D3-A085-4A7D-87D7-3D6C47A0E141}"/>
    <dgm:cxn modelId="{2F82BBF2-F2B5-46AE-8220-530525B8C500}" type="presParOf" srcId="{F554A7FB-A140-4AFD-97A0-E97F6A7AB706}" destId="{99AB0918-885C-4B02-93D6-43C3C15A7227}" srcOrd="0" destOrd="0" presId="urn:microsoft.com/office/officeart/2005/8/layout/radial5"/>
    <dgm:cxn modelId="{5977B75F-9A6C-479B-8699-8EE982033B26}" type="presParOf" srcId="{F554A7FB-A140-4AFD-97A0-E97F6A7AB706}" destId="{19A884B8-DAE3-42A1-8D9A-44F066EAB6E4}" srcOrd="1" destOrd="0" presId="urn:microsoft.com/office/officeart/2005/8/layout/radial5"/>
    <dgm:cxn modelId="{3D946D91-F9C9-4164-909B-A5F4B25088C9}" type="presParOf" srcId="{19A884B8-DAE3-42A1-8D9A-44F066EAB6E4}" destId="{32AF22FA-66D1-4FF5-85CB-FB3E7E8DAF47}" srcOrd="0" destOrd="0" presId="urn:microsoft.com/office/officeart/2005/8/layout/radial5"/>
    <dgm:cxn modelId="{61D8E0C5-E8E5-4B82-888C-2CE6ABFB4F5D}" type="presParOf" srcId="{F554A7FB-A140-4AFD-97A0-E97F6A7AB706}" destId="{3ACC7B52-CB0A-45C4-BF37-BE5220E03B66}" srcOrd="2" destOrd="0" presId="urn:microsoft.com/office/officeart/2005/8/layout/radial5"/>
    <dgm:cxn modelId="{D28A6C19-8D5F-415B-8F6D-70CCC9C049BA}" type="presParOf" srcId="{F554A7FB-A140-4AFD-97A0-E97F6A7AB706}" destId="{7F34F428-A9C6-4447-92CA-6146420DCDD2}" srcOrd="3" destOrd="0" presId="urn:microsoft.com/office/officeart/2005/8/layout/radial5"/>
    <dgm:cxn modelId="{81A9E9C3-0B59-499D-A8E3-208B82CBEA02}" type="presParOf" srcId="{7F34F428-A9C6-4447-92CA-6146420DCDD2}" destId="{F5886800-3BFE-4DDC-B1E7-A71A2B61B856}" srcOrd="0" destOrd="0" presId="urn:microsoft.com/office/officeart/2005/8/layout/radial5"/>
    <dgm:cxn modelId="{4752150E-196C-4781-A1BF-9E287F4AE803}" type="presParOf" srcId="{F554A7FB-A140-4AFD-97A0-E97F6A7AB706}" destId="{E6C7731E-514C-44C2-8E20-D9F05836645D}" srcOrd="4" destOrd="0" presId="urn:microsoft.com/office/officeart/2005/8/layout/radial5"/>
    <dgm:cxn modelId="{0A6BDD01-291C-4412-A2BD-A690D08217F3}" type="presParOf" srcId="{F554A7FB-A140-4AFD-97A0-E97F6A7AB706}" destId="{AC8B1996-72EF-4F87-9F0D-D334B187D4AD}" srcOrd="5" destOrd="0" presId="urn:microsoft.com/office/officeart/2005/8/layout/radial5"/>
    <dgm:cxn modelId="{1F14F361-A9A0-4528-8731-C43B8D609AA6}" type="presParOf" srcId="{AC8B1996-72EF-4F87-9F0D-D334B187D4AD}" destId="{C2AB4D56-6AF7-4207-8F33-31F02813B62E}" srcOrd="0" destOrd="0" presId="urn:microsoft.com/office/officeart/2005/8/layout/radial5"/>
    <dgm:cxn modelId="{40F09FBE-5F4A-4A07-80F4-7B4766616910}" type="presParOf" srcId="{F554A7FB-A140-4AFD-97A0-E97F6A7AB706}" destId="{F922F331-29D1-495C-A280-A65CD3AAA4ED}" srcOrd="6" destOrd="0" presId="urn:microsoft.com/office/officeart/2005/8/layout/radial5"/>
    <dgm:cxn modelId="{B654CDA2-33DB-4160-AE28-E1727414E976}" type="presParOf" srcId="{F554A7FB-A140-4AFD-97A0-E97F6A7AB706}" destId="{22F357DD-EEA8-4130-A619-014E8EBD3756}" srcOrd="7" destOrd="0" presId="urn:microsoft.com/office/officeart/2005/8/layout/radial5"/>
    <dgm:cxn modelId="{85EA7DA7-1B6A-469D-90FA-26D47E756205}" type="presParOf" srcId="{22F357DD-EEA8-4130-A619-014E8EBD3756}" destId="{80C286F5-B3EA-4E3C-B785-CA6E0D3D175E}" srcOrd="0" destOrd="0" presId="urn:microsoft.com/office/officeart/2005/8/layout/radial5"/>
    <dgm:cxn modelId="{A3A7EDC6-80A4-40B1-9CD9-214D84291C4C}" type="presParOf" srcId="{F554A7FB-A140-4AFD-97A0-E97F6A7AB706}" destId="{F3D9B19C-9F14-4D3D-BD43-B19EA3C9F7A0}" srcOrd="8" destOrd="0" presId="urn:microsoft.com/office/officeart/2005/8/layout/radial5"/>
    <dgm:cxn modelId="{56EC32A4-3A46-46C7-9B2A-724BA3E1F75D}" type="presParOf" srcId="{F554A7FB-A140-4AFD-97A0-E97F6A7AB706}" destId="{F134F861-1720-47DE-9B33-9627F0CCA854}" srcOrd="9" destOrd="0" presId="urn:microsoft.com/office/officeart/2005/8/layout/radial5"/>
    <dgm:cxn modelId="{AF8EE7FC-C400-4372-80C0-AD452864C5DC}" type="presParOf" srcId="{F134F861-1720-47DE-9B33-9627F0CCA854}" destId="{5E06CC9A-DE1A-4047-A5BD-73CCEC7F76A6}" srcOrd="0" destOrd="0" presId="urn:microsoft.com/office/officeart/2005/8/layout/radial5"/>
    <dgm:cxn modelId="{DB501454-461F-491A-A490-EF269BEB8F4D}" type="presParOf" srcId="{F554A7FB-A140-4AFD-97A0-E97F6A7AB706}" destId="{E789EADC-069A-458A-AC17-2FE6E9BEC389}" srcOrd="10" destOrd="0" presId="urn:microsoft.com/office/officeart/2005/8/layout/radial5"/>
    <dgm:cxn modelId="{A0D3B285-82F8-49E4-80F0-9FBD428FC9B3}" type="presParOf" srcId="{F554A7FB-A140-4AFD-97A0-E97F6A7AB706}" destId="{76BFEC03-0C49-4B48-A06B-F1E2AA0918A2}" srcOrd="11" destOrd="0" presId="urn:microsoft.com/office/officeart/2005/8/layout/radial5"/>
    <dgm:cxn modelId="{9D57DA3E-241D-4B91-BB87-CC01B7F1C6BB}" type="presParOf" srcId="{76BFEC03-0C49-4B48-A06B-F1E2AA0918A2}" destId="{09CAA9A4-27A6-4E93-A4CA-9A6DA85AC926}" srcOrd="0" destOrd="0" presId="urn:microsoft.com/office/officeart/2005/8/layout/radial5"/>
    <dgm:cxn modelId="{90364106-DA63-4857-B589-FBC31EFCC48F}" type="presParOf" srcId="{F554A7FB-A140-4AFD-97A0-E97F6A7AB706}" destId="{F7C43398-1F45-4474-8647-8C13F6876252}" srcOrd="12" destOrd="0" presId="urn:microsoft.com/office/officeart/2005/8/layout/radial5"/>
    <dgm:cxn modelId="{FE9386CD-C547-4D59-8D5E-0AAF1A701660}" type="presParOf" srcId="{F554A7FB-A140-4AFD-97A0-E97F6A7AB706}" destId="{123D21F8-0F53-4444-8088-BD75BFB1EE2A}" srcOrd="13" destOrd="0" presId="urn:microsoft.com/office/officeart/2005/8/layout/radial5"/>
    <dgm:cxn modelId="{592C35DD-579E-4C7A-BCDD-8BD456C8794C}" type="presParOf" srcId="{123D21F8-0F53-4444-8088-BD75BFB1EE2A}" destId="{894892CE-0C9F-42A8-83F8-47C62002866F}" srcOrd="0" destOrd="0" presId="urn:microsoft.com/office/officeart/2005/8/layout/radial5"/>
    <dgm:cxn modelId="{CC53BDED-42BE-4FD8-B2AC-6B99EE33D2A1}" type="presParOf" srcId="{F554A7FB-A140-4AFD-97A0-E97F6A7AB706}" destId="{5FBF15D2-2A63-462B-AC61-3533E62B09F5}" srcOrd="14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9AB0918-885C-4B02-93D6-43C3C15A7227}">
      <dsp:nvSpPr>
        <dsp:cNvPr id="0" name=""/>
        <dsp:cNvSpPr/>
      </dsp:nvSpPr>
      <dsp:spPr>
        <a:xfrm>
          <a:off x="1990722" y="1499277"/>
          <a:ext cx="1151698" cy="1151698"/>
        </a:xfrm>
        <a:prstGeom prst="ellipse">
          <a:avLst/>
        </a:prstGeom>
        <a:solidFill>
          <a:srgbClr val="64646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>
              <a:latin typeface="Arial MT"/>
            </a:rPr>
            <a:t>Information type identification</a:t>
          </a:r>
        </a:p>
      </dsp:txBody>
      <dsp:txXfrm>
        <a:off x="2159384" y="1667939"/>
        <a:ext cx="814374" cy="814374"/>
      </dsp:txXfrm>
    </dsp:sp>
    <dsp:sp modelId="{19A884B8-DAE3-42A1-8D9A-44F066EAB6E4}">
      <dsp:nvSpPr>
        <dsp:cNvPr id="0" name=""/>
        <dsp:cNvSpPr/>
      </dsp:nvSpPr>
      <dsp:spPr>
        <a:xfrm rot="16200000">
          <a:off x="2444750" y="1080533"/>
          <a:ext cx="243641" cy="391577"/>
        </a:xfrm>
        <a:prstGeom prst="rightArrow">
          <a:avLst>
            <a:gd name="adj1" fmla="val 60000"/>
            <a:gd name="adj2" fmla="val 50000"/>
          </a:avLst>
        </a:prstGeom>
        <a:solidFill>
          <a:srgbClr val="9DD7E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900" kern="1200">
            <a:latin typeface="Arial MT"/>
          </a:endParaRPr>
        </a:p>
      </dsp:txBody>
      <dsp:txXfrm>
        <a:off x="2481296" y="1195394"/>
        <a:ext cx="170549" cy="234947"/>
      </dsp:txXfrm>
    </dsp:sp>
    <dsp:sp modelId="{3ACC7B52-CB0A-45C4-BF37-BE5220E03B66}">
      <dsp:nvSpPr>
        <dsp:cNvPr id="0" name=""/>
        <dsp:cNvSpPr/>
      </dsp:nvSpPr>
      <dsp:spPr>
        <a:xfrm>
          <a:off x="2048307" y="3046"/>
          <a:ext cx="1036528" cy="1036528"/>
        </a:xfrm>
        <a:prstGeom prst="ellipse">
          <a:avLst/>
        </a:prstGeom>
        <a:solidFill>
          <a:srgbClr val="9DD7E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>
              <a:latin typeface="Arial MT"/>
            </a:rPr>
            <a:t>Keywords</a:t>
          </a:r>
        </a:p>
      </dsp:txBody>
      <dsp:txXfrm>
        <a:off x="2200103" y="154842"/>
        <a:ext cx="732936" cy="732936"/>
      </dsp:txXfrm>
    </dsp:sp>
    <dsp:sp modelId="{7F34F428-A9C6-4447-92CA-6146420DCDD2}">
      <dsp:nvSpPr>
        <dsp:cNvPr id="0" name=""/>
        <dsp:cNvSpPr/>
      </dsp:nvSpPr>
      <dsp:spPr>
        <a:xfrm rot="19285714">
          <a:off x="3069281" y="1381291"/>
          <a:ext cx="243641" cy="391577"/>
        </a:xfrm>
        <a:prstGeom prst="rightArrow">
          <a:avLst>
            <a:gd name="adj1" fmla="val 60000"/>
            <a:gd name="adj2" fmla="val 50000"/>
          </a:avLst>
        </a:prstGeom>
        <a:solidFill>
          <a:srgbClr val="28438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900" kern="1200">
            <a:latin typeface="Arial MT"/>
          </a:endParaRPr>
        </a:p>
      </dsp:txBody>
      <dsp:txXfrm>
        <a:off x="3077254" y="1482392"/>
        <a:ext cx="170549" cy="234947"/>
      </dsp:txXfrm>
    </dsp:sp>
    <dsp:sp modelId="{E6C7731E-514C-44C2-8E20-D9F05836645D}">
      <dsp:nvSpPr>
        <dsp:cNvPr id="0" name=""/>
        <dsp:cNvSpPr/>
      </dsp:nvSpPr>
      <dsp:spPr>
        <a:xfrm>
          <a:off x="3263129" y="588074"/>
          <a:ext cx="1036528" cy="1036528"/>
        </a:xfrm>
        <a:prstGeom prst="ellipse">
          <a:avLst/>
        </a:prstGeom>
        <a:solidFill>
          <a:srgbClr val="28438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>
              <a:latin typeface="Arial MT"/>
            </a:rPr>
            <a:t>Exact data match</a:t>
          </a:r>
        </a:p>
      </dsp:txBody>
      <dsp:txXfrm>
        <a:off x="3414925" y="739870"/>
        <a:ext cx="732936" cy="732936"/>
      </dsp:txXfrm>
    </dsp:sp>
    <dsp:sp modelId="{AC8B1996-72EF-4F87-9F0D-D334B187D4AD}">
      <dsp:nvSpPr>
        <dsp:cNvPr id="0" name=""/>
        <dsp:cNvSpPr/>
      </dsp:nvSpPr>
      <dsp:spPr>
        <a:xfrm rot="771429">
          <a:off x="3223527" y="2057089"/>
          <a:ext cx="243641" cy="391577"/>
        </a:xfrm>
        <a:prstGeom prst="rightArrow">
          <a:avLst>
            <a:gd name="adj1" fmla="val 60000"/>
            <a:gd name="adj2" fmla="val 50000"/>
          </a:avLst>
        </a:prstGeom>
        <a:solidFill>
          <a:srgbClr val="64646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900" kern="1200">
            <a:latin typeface="Arial MT"/>
          </a:endParaRPr>
        </a:p>
      </dsp:txBody>
      <dsp:txXfrm>
        <a:off x="3224443" y="2127272"/>
        <a:ext cx="170549" cy="234947"/>
      </dsp:txXfrm>
    </dsp:sp>
    <dsp:sp modelId="{F922F331-29D1-495C-A280-A65CD3AAA4ED}">
      <dsp:nvSpPr>
        <dsp:cNvPr id="0" name=""/>
        <dsp:cNvSpPr/>
      </dsp:nvSpPr>
      <dsp:spPr>
        <a:xfrm>
          <a:off x="3563165" y="1902619"/>
          <a:ext cx="1036528" cy="1036528"/>
        </a:xfrm>
        <a:prstGeom prst="ellipse">
          <a:avLst/>
        </a:prstGeom>
        <a:solidFill>
          <a:srgbClr val="64646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>
              <a:latin typeface="Arial MT"/>
            </a:rPr>
            <a:t>Text pattern</a:t>
          </a:r>
          <a:br>
            <a:rPr lang="en-GB" sz="1100" kern="1200" dirty="0">
              <a:latin typeface="Arial MT"/>
            </a:rPr>
          </a:br>
          <a:r>
            <a:rPr lang="en-GB" sz="1100" kern="1200" dirty="0">
              <a:latin typeface="Arial MT"/>
            </a:rPr>
            <a:t>(regular exp.)</a:t>
          </a:r>
        </a:p>
      </dsp:txBody>
      <dsp:txXfrm>
        <a:off x="3714961" y="2054415"/>
        <a:ext cx="732936" cy="732936"/>
      </dsp:txXfrm>
    </dsp:sp>
    <dsp:sp modelId="{22F357DD-EEA8-4130-A619-014E8EBD3756}">
      <dsp:nvSpPr>
        <dsp:cNvPr id="0" name=""/>
        <dsp:cNvSpPr/>
      </dsp:nvSpPr>
      <dsp:spPr>
        <a:xfrm rot="3857143">
          <a:off x="2791338" y="2599036"/>
          <a:ext cx="243641" cy="391577"/>
        </a:xfrm>
        <a:prstGeom prst="rightArrow">
          <a:avLst>
            <a:gd name="adj1" fmla="val 60000"/>
            <a:gd name="adj2" fmla="val 50000"/>
          </a:avLst>
        </a:prstGeom>
        <a:solidFill>
          <a:srgbClr val="9DD7E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900" kern="1200">
            <a:latin typeface="Arial MT"/>
          </a:endParaRPr>
        </a:p>
      </dsp:txBody>
      <dsp:txXfrm>
        <a:off x="2812027" y="2644424"/>
        <a:ext cx="170549" cy="234947"/>
      </dsp:txXfrm>
    </dsp:sp>
    <dsp:sp modelId="{F3D9B19C-9F14-4D3D-BD43-B19EA3C9F7A0}">
      <dsp:nvSpPr>
        <dsp:cNvPr id="0" name=""/>
        <dsp:cNvSpPr/>
      </dsp:nvSpPr>
      <dsp:spPr>
        <a:xfrm>
          <a:off x="2722482" y="2956802"/>
          <a:ext cx="1036528" cy="1036528"/>
        </a:xfrm>
        <a:prstGeom prst="ellipse">
          <a:avLst/>
        </a:prstGeom>
        <a:solidFill>
          <a:srgbClr val="9DD7E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>
              <a:latin typeface="Arial MT"/>
            </a:rPr>
            <a:t>Document recognition </a:t>
          </a:r>
        </a:p>
      </dsp:txBody>
      <dsp:txXfrm>
        <a:off x="2874278" y="3108598"/>
        <a:ext cx="732936" cy="732936"/>
      </dsp:txXfrm>
    </dsp:sp>
    <dsp:sp modelId="{F134F861-1720-47DE-9B33-9627F0CCA854}">
      <dsp:nvSpPr>
        <dsp:cNvPr id="0" name=""/>
        <dsp:cNvSpPr/>
      </dsp:nvSpPr>
      <dsp:spPr>
        <a:xfrm rot="6942857">
          <a:off x="2098162" y="2599036"/>
          <a:ext cx="243641" cy="391577"/>
        </a:xfrm>
        <a:prstGeom prst="rightArrow">
          <a:avLst>
            <a:gd name="adj1" fmla="val 60000"/>
            <a:gd name="adj2" fmla="val 50000"/>
          </a:avLst>
        </a:prstGeom>
        <a:solidFill>
          <a:srgbClr val="28438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900" kern="1200">
            <a:latin typeface="Arial MT"/>
          </a:endParaRPr>
        </a:p>
      </dsp:txBody>
      <dsp:txXfrm rot="10800000">
        <a:off x="2150565" y="2644424"/>
        <a:ext cx="170549" cy="234947"/>
      </dsp:txXfrm>
    </dsp:sp>
    <dsp:sp modelId="{E789EADC-069A-458A-AC17-2FE6E9BEC389}">
      <dsp:nvSpPr>
        <dsp:cNvPr id="0" name=""/>
        <dsp:cNvSpPr/>
      </dsp:nvSpPr>
      <dsp:spPr>
        <a:xfrm>
          <a:off x="1374131" y="2956802"/>
          <a:ext cx="1036528" cy="1036528"/>
        </a:xfrm>
        <a:prstGeom prst="ellipse">
          <a:avLst/>
        </a:prstGeom>
        <a:solidFill>
          <a:srgbClr val="28438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>
              <a:latin typeface="Arial MT"/>
            </a:rPr>
            <a:t>Location</a:t>
          </a:r>
        </a:p>
      </dsp:txBody>
      <dsp:txXfrm>
        <a:off x="1525927" y="3108598"/>
        <a:ext cx="732936" cy="732936"/>
      </dsp:txXfrm>
    </dsp:sp>
    <dsp:sp modelId="{16C8CB1A-EBC8-4D6C-BBA3-94C8A7F9BDD1}">
      <dsp:nvSpPr>
        <dsp:cNvPr id="0" name=""/>
        <dsp:cNvSpPr/>
      </dsp:nvSpPr>
      <dsp:spPr>
        <a:xfrm rot="10028571">
          <a:off x="1665973" y="2057089"/>
          <a:ext cx="243641" cy="391577"/>
        </a:xfrm>
        <a:prstGeom prst="rightArrow">
          <a:avLst>
            <a:gd name="adj1" fmla="val 60000"/>
            <a:gd name="adj2" fmla="val 50000"/>
          </a:avLst>
        </a:prstGeom>
        <a:solidFill>
          <a:srgbClr val="64646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900" kern="1200">
            <a:latin typeface="Arial MT"/>
          </a:endParaRPr>
        </a:p>
      </dsp:txBody>
      <dsp:txXfrm rot="10800000">
        <a:off x="1738149" y="2127272"/>
        <a:ext cx="170549" cy="234947"/>
      </dsp:txXfrm>
    </dsp:sp>
    <dsp:sp modelId="{4279B78D-60B6-4489-810A-2F8C6A9C4006}">
      <dsp:nvSpPr>
        <dsp:cNvPr id="0" name=""/>
        <dsp:cNvSpPr/>
      </dsp:nvSpPr>
      <dsp:spPr>
        <a:xfrm>
          <a:off x="533448" y="1902619"/>
          <a:ext cx="1036528" cy="1036528"/>
        </a:xfrm>
        <a:prstGeom prst="ellipse">
          <a:avLst/>
        </a:prstGeom>
        <a:solidFill>
          <a:srgbClr val="64646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>
              <a:latin typeface="Arial MT"/>
            </a:rPr>
            <a:t>Meta data</a:t>
          </a:r>
        </a:p>
      </dsp:txBody>
      <dsp:txXfrm>
        <a:off x="685244" y="2054415"/>
        <a:ext cx="732936" cy="732936"/>
      </dsp:txXfrm>
    </dsp:sp>
    <dsp:sp modelId="{76BFEC03-0C49-4B48-A06B-F1E2AA0918A2}">
      <dsp:nvSpPr>
        <dsp:cNvPr id="0" name=""/>
        <dsp:cNvSpPr/>
      </dsp:nvSpPr>
      <dsp:spPr>
        <a:xfrm rot="13114286">
          <a:off x="1820219" y="1381291"/>
          <a:ext cx="243641" cy="391577"/>
        </a:xfrm>
        <a:prstGeom prst="rightArrow">
          <a:avLst>
            <a:gd name="adj1" fmla="val 60000"/>
            <a:gd name="adj2" fmla="val 50000"/>
          </a:avLst>
        </a:prstGeom>
        <a:solidFill>
          <a:srgbClr val="28438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900" kern="1200">
            <a:latin typeface="Arial MT"/>
          </a:endParaRPr>
        </a:p>
      </dsp:txBody>
      <dsp:txXfrm rot="10800000">
        <a:off x="1885338" y="1482392"/>
        <a:ext cx="170549" cy="234947"/>
      </dsp:txXfrm>
    </dsp:sp>
    <dsp:sp modelId="{F7C43398-1F45-4474-8647-8C13F6876252}">
      <dsp:nvSpPr>
        <dsp:cNvPr id="0" name=""/>
        <dsp:cNvSpPr/>
      </dsp:nvSpPr>
      <dsp:spPr>
        <a:xfrm>
          <a:off x="833484" y="588074"/>
          <a:ext cx="1036528" cy="1036528"/>
        </a:xfrm>
        <a:prstGeom prst="ellipse">
          <a:avLst/>
        </a:prstGeom>
        <a:solidFill>
          <a:srgbClr val="28438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>
              <a:latin typeface="Arial MT"/>
            </a:rPr>
            <a:t>File extension / mime type</a:t>
          </a:r>
        </a:p>
      </dsp:txBody>
      <dsp:txXfrm>
        <a:off x="985280" y="739870"/>
        <a:ext cx="732936" cy="73293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9AB0918-885C-4B02-93D6-43C3C15A7227}">
      <dsp:nvSpPr>
        <dsp:cNvPr id="0" name=""/>
        <dsp:cNvSpPr/>
      </dsp:nvSpPr>
      <dsp:spPr>
        <a:xfrm>
          <a:off x="2331358" y="1632520"/>
          <a:ext cx="881899" cy="881899"/>
        </a:xfrm>
        <a:prstGeom prst="ellipse">
          <a:avLst/>
        </a:prstGeom>
        <a:solidFill>
          <a:srgbClr val="65656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>
              <a:latin typeface="Arial MT"/>
            </a:rPr>
            <a:t>User behaviour</a:t>
          </a:r>
        </a:p>
      </dsp:txBody>
      <dsp:txXfrm>
        <a:off x="2460509" y="1761671"/>
        <a:ext cx="623597" cy="623597"/>
      </dsp:txXfrm>
    </dsp:sp>
    <dsp:sp modelId="{19A884B8-DAE3-42A1-8D9A-44F066EAB6E4}">
      <dsp:nvSpPr>
        <dsp:cNvPr id="0" name=""/>
        <dsp:cNvSpPr/>
      </dsp:nvSpPr>
      <dsp:spPr>
        <a:xfrm rot="16200000">
          <a:off x="2631053" y="1236613"/>
          <a:ext cx="282509" cy="274767"/>
        </a:xfrm>
        <a:prstGeom prst="rightArrow">
          <a:avLst>
            <a:gd name="adj1" fmla="val 60000"/>
            <a:gd name="adj2" fmla="val 50000"/>
          </a:avLst>
        </a:prstGeom>
        <a:solidFill>
          <a:srgbClr val="9DD7E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800" kern="1200">
            <a:latin typeface="Arial MT"/>
          </a:endParaRPr>
        </a:p>
      </dsp:txBody>
      <dsp:txXfrm>
        <a:off x="2672268" y="1332781"/>
        <a:ext cx="200079" cy="164861"/>
      </dsp:txXfrm>
    </dsp:sp>
    <dsp:sp modelId="{3ACC7B52-CB0A-45C4-BF37-BE5220E03B66}">
      <dsp:nvSpPr>
        <dsp:cNvPr id="0" name=""/>
        <dsp:cNvSpPr/>
      </dsp:nvSpPr>
      <dsp:spPr>
        <a:xfrm>
          <a:off x="2225943" y="6755"/>
          <a:ext cx="1092728" cy="1092728"/>
        </a:xfrm>
        <a:prstGeom prst="ellipse">
          <a:avLst/>
        </a:prstGeom>
        <a:solidFill>
          <a:srgbClr val="9DD7E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>
              <a:latin typeface="Arial MT"/>
            </a:rPr>
            <a:t>External e-mailing or sharing</a:t>
          </a:r>
        </a:p>
      </dsp:txBody>
      <dsp:txXfrm>
        <a:off x="2385969" y="166781"/>
        <a:ext cx="772676" cy="772676"/>
      </dsp:txXfrm>
    </dsp:sp>
    <dsp:sp modelId="{7F34F428-A9C6-4447-92CA-6146420DCDD2}">
      <dsp:nvSpPr>
        <dsp:cNvPr id="0" name=""/>
        <dsp:cNvSpPr/>
      </dsp:nvSpPr>
      <dsp:spPr>
        <a:xfrm rot="19285714">
          <a:off x="3177922" y="1499972"/>
          <a:ext cx="282509" cy="274767"/>
        </a:xfrm>
        <a:prstGeom prst="rightArrow">
          <a:avLst>
            <a:gd name="adj1" fmla="val 60000"/>
            <a:gd name="adj2" fmla="val 50000"/>
          </a:avLst>
        </a:prstGeom>
        <a:solidFill>
          <a:srgbClr val="28438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800" kern="1200">
            <a:latin typeface="Arial MT"/>
          </a:endParaRPr>
        </a:p>
      </dsp:txBody>
      <dsp:txXfrm>
        <a:off x="3186914" y="1580622"/>
        <a:ext cx="200079" cy="164861"/>
      </dsp:txXfrm>
    </dsp:sp>
    <dsp:sp modelId="{E6C7731E-514C-44C2-8E20-D9F05836645D}">
      <dsp:nvSpPr>
        <dsp:cNvPr id="0" name=""/>
        <dsp:cNvSpPr/>
      </dsp:nvSpPr>
      <dsp:spPr>
        <a:xfrm>
          <a:off x="3414602" y="579182"/>
          <a:ext cx="1092728" cy="1092728"/>
        </a:xfrm>
        <a:prstGeom prst="ellipse">
          <a:avLst/>
        </a:prstGeom>
        <a:solidFill>
          <a:srgbClr val="28438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>
              <a:latin typeface="Arial MT"/>
            </a:rPr>
            <a:t>Change of classification</a:t>
          </a:r>
        </a:p>
      </dsp:txBody>
      <dsp:txXfrm>
        <a:off x="3574628" y="739208"/>
        <a:ext cx="772676" cy="772676"/>
      </dsp:txXfrm>
    </dsp:sp>
    <dsp:sp modelId="{AC8B1996-72EF-4F87-9F0D-D334B187D4AD}">
      <dsp:nvSpPr>
        <dsp:cNvPr id="0" name=""/>
        <dsp:cNvSpPr/>
      </dsp:nvSpPr>
      <dsp:spPr>
        <a:xfrm rot="771429">
          <a:off x="3312988" y="2091733"/>
          <a:ext cx="282509" cy="274767"/>
        </a:xfrm>
        <a:prstGeom prst="rightArrow">
          <a:avLst>
            <a:gd name="adj1" fmla="val 60000"/>
            <a:gd name="adj2" fmla="val 50000"/>
          </a:avLst>
        </a:prstGeom>
        <a:solidFill>
          <a:srgbClr val="64646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800" kern="1200">
            <a:latin typeface="Arial MT"/>
          </a:endParaRPr>
        </a:p>
      </dsp:txBody>
      <dsp:txXfrm>
        <a:off x="3314021" y="2137515"/>
        <a:ext cx="200079" cy="164861"/>
      </dsp:txXfrm>
    </dsp:sp>
    <dsp:sp modelId="{F922F331-29D1-495C-A280-A65CD3AAA4ED}">
      <dsp:nvSpPr>
        <dsp:cNvPr id="0" name=""/>
        <dsp:cNvSpPr/>
      </dsp:nvSpPr>
      <dsp:spPr>
        <a:xfrm>
          <a:off x="3708176" y="1865415"/>
          <a:ext cx="1092728" cy="1092728"/>
        </a:xfrm>
        <a:prstGeom prst="ellipse">
          <a:avLst/>
        </a:prstGeom>
        <a:solidFill>
          <a:srgbClr val="64646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>
              <a:latin typeface="Arial MT"/>
            </a:rPr>
            <a:t>Print, copy to USB, clip board or screenshot</a:t>
          </a:r>
        </a:p>
      </dsp:txBody>
      <dsp:txXfrm>
        <a:off x="3868202" y="2025441"/>
        <a:ext cx="772676" cy="772676"/>
      </dsp:txXfrm>
    </dsp:sp>
    <dsp:sp modelId="{22F357DD-EEA8-4130-A619-014E8EBD3756}">
      <dsp:nvSpPr>
        <dsp:cNvPr id="0" name=""/>
        <dsp:cNvSpPr/>
      </dsp:nvSpPr>
      <dsp:spPr>
        <a:xfrm rot="3857143">
          <a:off x="2934542" y="2566289"/>
          <a:ext cx="282509" cy="274767"/>
        </a:xfrm>
        <a:prstGeom prst="rightArrow">
          <a:avLst>
            <a:gd name="adj1" fmla="val 60000"/>
            <a:gd name="adj2" fmla="val 50000"/>
          </a:avLst>
        </a:prstGeom>
        <a:solidFill>
          <a:srgbClr val="9DD7E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800" kern="1200">
            <a:latin typeface="Arial MT"/>
          </a:endParaRPr>
        </a:p>
      </dsp:txBody>
      <dsp:txXfrm>
        <a:off x="2957874" y="2584109"/>
        <a:ext cx="200079" cy="164861"/>
      </dsp:txXfrm>
    </dsp:sp>
    <dsp:sp modelId="{F3D9B19C-9F14-4D3D-BD43-B19EA3C9F7A0}">
      <dsp:nvSpPr>
        <dsp:cNvPr id="0" name=""/>
        <dsp:cNvSpPr/>
      </dsp:nvSpPr>
      <dsp:spPr>
        <a:xfrm>
          <a:off x="2885599" y="2896894"/>
          <a:ext cx="1092728" cy="1092728"/>
        </a:xfrm>
        <a:prstGeom prst="ellipse">
          <a:avLst/>
        </a:prstGeom>
        <a:solidFill>
          <a:srgbClr val="9DD7E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>
              <a:latin typeface="Arial MT"/>
            </a:rPr>
            <a:t>File Classification mismatch: workspace and information</a:t>
          </a:r>
        </a:p>
      </dsp:txBody>
      <dsp:txXfrm>
        <a:off x="3045625" y="3056920"/>
        <a:ext cx="772676" cy="772676"/>
      </dsp:txXfrm>
    </dsp:sp>
    <dsp:sp modelId="{F134F861-1720-47DE-9B33-9627F0CCA854}">
      <dsp:nvSpPr>
        <dsp:cNvPr id="0" name=""/>
        <dsp:cNvSpPr/>
      </dsp:nvSpPr>
      <dsp:spPr>
        <a:xfrm rot="6942857">
          <a:off x="2327563" y="2566289"/>
          <a:ext cx="282509" cy="274767"/>
        </a:xfrm>
        <a:prstGeom prst="rightArrow">
          <a:avLst>
            <a:gd name="adj1" fmla="val 60000"/>
            <a:gd name="adj2" fmla="val 50000"/>
          </a:avLst>
        </a:prstGeom>
        <a:solidFill>
          <a:srgbClr val="28438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800" kern="1200">
            <a:latin typeface="Arial MT"/>
          </a:endParaRPr>
        </a:p>
      </dsp:txBody>
      <dsp:txXfrm rot="10800000">
        <a:off x="2386661" y="2584109"/>
        <a:ext cx="200079" cy="164861"/>
      </dsp:txXfrm>
    </dsp:sp>
    <dsp:sp modelId="{E789EADC-069A-458A-AC17-2FE6E9BEC389}">
      <dsp:nvSpPr>
        <dsp:cNvPr id="0" name=""/>
        <dsp:cNvSpPr/>
      </dsp:nvSpPr>
      <dsp:spPr>
        <a:xfrm>
          <a:off x="1566288" y="2896894"/>
          <a:ext cx="1092728" cy="1092728"/>
        </a:xfrm>
        <a:prstGeom prst="ellipse">
          <a:avLst/>
        </a:prstGeom>
        <a:solidFill>
          <a:srgbClr val="28438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>
              <a:latin typeface="Arial MT"/>
            </a:rPr>
            <a:t>Non-business location or hours access</a:t>
          </a:r>
        </a:p>
      </dsp:txBody>
      <dsp:txXfrm>
        <a:off x="1726314" y="3056920"/>
        <a:ext cx="772676" cy="772676"/>
      </dsp:txXfrm>
    </dsp:sp>
    <dsp:sp modelId="{76BFEC03-0C49-4B48-A06B-F1E2AA0918A2}">
      <dsp:nvSpPr>
        <dsp:cNvPr id="0" name=""/>
        <dsp:cNvSpPr/>
      </dsp:nvSpPr>
      <dsp:spPr>
        <a:xfrm rot="10028571">
          <a:off x="1949117" y="2091733"/>
          <a:ext cx="282509" cy="274767"/>
        </a:xfrm>
        <a:prstGeom prst="rightArrow">
          <a:avLst>
            <a:gd name="adj1" fmla="val 60000"/>
            <a:gd name="adj2" fmla="val 50000"/>
          </a:avLst>
        </a:prstGeom>
        <a:solidFill>
          <a:srgbClr val="646464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800" kern="1200">
            <a:latin typeface="Arial MT"/>
          </a:endParaRPr>
        </a:p>
      </dsp:txBody>
      <dsp:txXfrm rot="10800000">
        <a:off x="2030514" y="2137515"/>
        <a:ext cx="200079" cy="164861"/>
      </dsp:txXfrm>
    </dsp:sp>
    <dsp:sp modelId="{F7C43398-1F45-4474-8647-8C13F6876252}">
      <dsp:nvSpPr>
        <dsp:cNvPr id="0" name=""/>
        <dsp:cNvSpPr/>
      </dsp:nvSpPr>
      <dsp:spPr>
        <a:xfrm>
          <a:off x="743711" y="1865415"/>
          <a:ext cx="1092728" cy="1092728"/>
        </a:xfrm>
        <a:prstGeom prst="ellipse">
          <a:avLst/>
        </a:prstGeom>
        <a:solidFill>
          <a:srgbClr val="65656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>
              <a:latin typeface="Arial MT"/>
            </a:rPr>
            <a:t>Use of sensitive information in inappropriate places</a:t>
          </a:r>
        </a:p>
      </dsp:txBody>
      <dsp:txXfrm>
        <a:off x="903737" y="2025441"/>
        <a:ext cx="772676" cy="772676"/>
      </dsp:txXfrm>
    </dsp:sp>
    <dsp:sp modelId="{123D21F8-0F53-4444-8088-BD75BFB1EE2A}">
      <dsp:nvSpPr>
        <dsp:cNvPr id="0" name=""/>
        <dsp:cNvSpPr/>
      </dsp:nvSpPr>
      <dsp:spPr>
        <a:xfrm rot="13114286">
          <a:off x="2084183" y="1499972"/>
          <a:ext cx="282509" cy="274767"/>
        </a:xfrm>
        <a:prstGeom prst="rightArrow">
          <a:avLst>
            <a:gd name="adj1" fmla="val 60000"/>
            <a:gd name="adj2" fmla="val 50000"/>
          </a:avLst>
        </a:prstGeom>
        <a:solidFill>
          <a:srgbClr val="28438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800" kern="1200">
            <a:latin typeface="Arial MT"/>
          </a:endParaRPr>
        </a:p>
      </dsp:txBody>
      <dsp:txXfrm rot="10800000">
        <a:off x="2157621" y="1580622"/>
        <a:ext cx="200079" cy="164861"/>
      </dsp:txXfrm>
    </dsp:sp>
    <dsp:sp modelId="{5FBF15D2-2A63-462B-AC61-3533E62B09F5}">
      <dsp:nvSpPr>
        <dsp:cNvPr id="0" name=""/>
        <dsp:cNvSpPr/>
      </dsp:nvSpPr>
      <dsp:spPr>
        <a:xfrm>
          <a:off x="1037285" y="579182"/>
          <a:ext cx="1092728" cy="1092728"/>
        </a:xfrm>
        <a:prstGeom prst="ellipse">
          <a:avLst/>
        </a:prstGeom>
        <a:solidFill>
          <a:srgbClr val="28438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>
              <a:latin typeface="Arial MT"/>
            </a:rPr>
            <a:t>Misconduct in working with others</a:t>
          </a:r>
        </a:p>
      </dsp:txBody>
      <dsp:txXfrm>
        <a:off x="1197311" y="739208"/>
        <a:ext cx="772676" cy="7726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4E21DA6D-6CEB-4666-88C2-9318F242F0AC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3E12B711-9776-4CA6-B763-441F04CCE93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282689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75" y="1200150"/>
            <a:ext cx="5759450" cy="3240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LOUD: </a:t>
            </a:r>
            <a:r>
              <a:rPr lang="en-GB" dirty="0" err="1"/>
              <a:t>PowerPlants</a:t>
            </a:r>
            <a:r>
              <a:rPr lang="en-GB" dirty="0"/>
              <a:t> - Microsoft, Google, and Amazon are the winners.</a:t>
            </a:r>
          </a:p>
          <a:p>
            <a:r>
              <a:rPr lang="en-GB" dirty="0"/>
              <a:t>MOBILE: Number of phones, Pavlovian</a:t>
            </a:r>
          </a:p>
          <a:p>
            <a:r>
              <a:rPr lang="en-GB" dirty="0"/>
              <a:t>INTERNET OF TINGS: </a:t>
            </a:r>
            <a:r>
              <a:rPr lang="en-GB" dirty="0" err="1"/>
              <a:t>iBeacons</a:t>
            </a:r>
            <a:r>
              <a:rPr lang="en-GB" dirty="0"/>
              <a:t> and </a:t>
            </a:r>
            <a:r>
              <a:rPr lang="en-GB" dirty="0" err="1"/>
              <a:t>Zigbee</a:t>
            </a:r>
            <a:r>
              <a:rPr lang="en-GB" dirty="0"/>
              <a:t> – e.g. Amazon Go</a:t>
            </a:r>
          </a:p>
          <a:p>
            <a:r>
              <a:rPr lang="en-GB" dirty="0"/>
              <a:t>DEMOGRAPHICS: new generations have different expectations </a:t>
            </a:r>
          </a:p>
          <a:p>
            <a:r>
              <a:rPr lang="en-GB" dirty="0"/>
              <a:t>CONSUMERIZATION: Revolution in consumer IT with collapsing purchasing cycles.</a:t>
            </a:r>
          </a:p>
          <a:p>
            <a:r>
              <a:rPr lang="en-GB" dirty="0"/>
              <a:t>AI: Santa Cruz Police </a:t>
            </a:r>
            <a:r>
              <a:rPr lang="en-GB" dirty="0" err="1"/>
              <a:t>Dept</a:t>
            </a:r>
            <a:r>
              <a:rPr lang="en-GB" dirty="0"/>
              <a:t>, </a:t>
            </a:r>
            <a:r>
              <a:rPr lang="en-GB" dirty="0" err="1"/>
              <a:t>Uni</a:t>
            </a:r>
            <a:r>
              <a:rPr lang="en-GB" dirty="0"/>
              <a:t> of Kentucky.</a:t>
            </a:r>
          </a:p>
          <a:p>
            <a:r>
              <a:rPr lang="en-GB" dirty="0"/>
              <a:t>GDPR - will come back this </a:t>
            </a:r>
          </a:p>
        </p:txBody>
      </p:sp>
    </p:spTree>
    <p:extLst>
      <p:ext uri="{BB962C8B-B14F-4D97-AF65-F5344CB8AC3E}">
        <p14:creationId xmlns:p14="http://schemas.microsoft.com/office/powerpoint/2010/main" val="9232200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75" y="1200150"/>
            <a:ext cx="5759450" cy="3240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4E6354-EC6A-460D-96A6-A596D2A2092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08374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75" y="1200150"/>
            <a:ext cx="5759450" cy="3240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534D31-9F30-425D-878E-491582887FF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84918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8150" y="1233488"/>
            <a:ext cx="5921375" cy="33321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81CD55-A19F-412F-8BC2-284634BB066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6576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BC082-ACFF-404C-8931-CC945D62630D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FF2E1-A785-4D5E-9AA1-76D6E8BD0068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BC082-ACFF-404C-8931-CC945D62630D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FF2E1-A785-4D5E-9AA1-76D6E8BD0068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96FAE-FAB3-4789-9128-097BFB66FA03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9B8E9-8EAF-4026-A562-520F50B067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4316984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96FAE-FAB3-4789-9128-097BFB66FA03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9B8E9-8EAF-4026-A562-520F50B067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739174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96FAE-FAB3-4789-9128-097BFB66FA03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9B8E9-8EAF-4026-A562-520F50B067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172382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96FAE-FAB3-4789-9128-097BFB66FA03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9B8E9-8EAF-4026-A562-520F50B067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3340024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96FAE-FAB3-4789-9128-097BFB66FA03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9B8E9-8EAF-4026-A562-520F50B067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6400153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96FAE-FAB3-4789-9128-097BFB66FA03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9B8E9-8EAF-4026-A562-520F50B067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5862802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96FAE-FAB3-4789-9128-097BFB66FA03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9B8E9-8EAF-4026-A562-520F50B067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6316608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96FAE-FAB3-4789-9128-097BFB66FA03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9B8E9-8EAF-4026-A562-520F50B067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6764508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DE59-F66E-4651-9567-C74E1C4394DE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85100-E60C-48A0-8135-D1D9141867F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6528432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DE59-F66E-4651-9567-C74E1C4394DE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85100-E60C-48A0-8135-D1D9141867F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913039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BC082-ACFF-404C-8931-CC945D62630D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FF2E1-A785-4D5E-9AA1-76D6E8BD0068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DE59-F66E-4651-9567-C74E1C4394DE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85100-E60C-48A0-8135-D1D9141867F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9091251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DE59-F66E-4651-9567-C74E1C4394DE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85100-E60C-48A0-8135-D1D9141867F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3233501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DE59-F66E-4651-9567-C74E1C4394DE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85100-E60C-48A0-8135-D1D9141867F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9173050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DE59-F66E-4651-9567-C74E1C4394DE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85100-E60C-48A0-8135-D1D9141867F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6429375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DE59-F66E-4651-9567-C74E1C4394DE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85100-E60C-48A0-8135-D1D9141867F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542259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DE59-F66E-4651-9567-C74E1C4394DE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85100-E60C-48A0-8135-D1D9141867F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8132941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DE59-F66E-4651-9567-C74E1C4394DE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85100-E60C-48A0-8135-D1D9141867F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433159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DE59-F66E-4651-9567-C74E1C4394DE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85100-E60C-48A0-8135-D1D9141867F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2964945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5DE59-F66E-4651-9567-C74E1C4394DE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85100-E60C-48A0-8135-D1D9141867F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890193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35"/>
          <a:stretch/>
        </p:blipFill>
        <p:spPr>
          <a:xfrm flipH="1">
            <a:off x="2" y="0"/>
            <a:ext cx="12191999" cy="6858000"/>
          </a:xfrm>
          <a:prstGeom prst="rect">
            <a:avLst/>
          </a:prstGeom>
        </p:spPr>
      </p:pic>
      <p:sp>
        <p:nvSpPr>
          <p:cNvPr id="5" name="CaixaDeTexto 4"/>
          <p:cNvSpPr txBox="1"/>
          <p:nvPr userDrawn="1"/>
        </p:nvSpPr>
        <p:spPr>
          <a:xfrm>
            <a:off x="625643" y="6529471"/>
            <a:ext cx="702436" cy="196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hangingPunct="1"/>
            <a:r>
              <a:rPr lang="pt-BR" sz="675" kern="1200" dirty="0">
                <a:solidFill>
                  <a:prstClr val="white"/>
                </a:solidFill>
                <a:ea typeface="Calibri" charset="0"/>
                <a:cs typeface="Calibri" charset="0"/>
              </a:rPr>
              <a:t>Fonte: </a:t>
            </a:r>
            <a:r>
              <a:rPr lang="pt-BR" sz="675" kern="1200" dirty="0" err="1">
                <a:solidFill>
                  <a:prstClr val="white"/>
                </a:solidFill>
                <a:ea typeface="Calibri" charset="0"/>
                <a:cs typeface="Calibri" charset="0"/>
              </a:rPr>
              <a:t>Gartner</a:t>
            </a:r>
            <a:endParaRPr lang="pt-BR" sz="675" kern="1200" dirty="0">
              <a:solidFill>
                <a:prstClr val="white"/>
              </a:solidFill>
              <a:ea typeface="Calibri" charset="0"/>
              <a:cs typeface="Calibri" charset="0"/>
            </a:endParaRPr>
          </a:p>
        </p:txBody>
      </p:sp>
      <p:pic>
        <p:nvPicPr>
          <p:cNvPr id="19" name="Picture 30" descr="bg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09"/>
          <a:stretch/>
        </p:blipFill>
        <p:spPr>
          <a:xfrm>
            <a:off x="3763" y="1929285"/>
            <a:ext cx="12188239" cy="4928716"/>
          </a:xfrm>
          <a:prstGeom prst="rect">
            <a:avLst/>
          </a:prstGeom>
        </p:spPr>
      </p:pic>
      <p:pic>
        <p:nvPicPr>
          <p:cNvPr id="21" name="Imagem 20"/>
          <p:cNvPicPr>
            <a:picLocks noChangeAspect="1"/>
          </p:cNvPicPr>
          <p:nvPr userDrawn="1"/>
        </p:nvPicPr>
        <p:blipFill>
          <a:blip r:embed="rId4" cstate="print">
            <a:alphaModFix amt="8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9909" y="1806299"/>
            <a:ext cx="1249428" cy="1249428"/>
          </a:xfrm>
          <a:prstGeom prst="rect">
            <a:avLst/>
          </a:prstGeom>
        </p:spPr>
      </p:pic>
      <p:sp>
        <p:nvSpPr>
          <p:cNvPr id="26" name="CaixaDeTexto 25"/>
          <p:cNvSpPr txBox="1"/>
          <p:nvPr userDrawn="1"/>
        </p:nvSpPr>
        <p:spPr>
          <a:xfrm>
            <a:off x="7532186" y="3054699"/>
            <a:ext cx="83548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hangingPunct="1"/>
            <a:r>
              <a:rPr lang="pt-BR" sz="900" kern="1200">
                <a:solidFill>
                  <a:srgbClr val="17365C"/>
                </a:solidFill>
              </a:rPr>
              <a:t>INTELIGÊNCIA</a:t>
            </a:r>
            <a:endParaRPr lang="pt-BR" sz="900" kern="1200" dirty="0">
              <a:solidFill>
                <a:srgbClr val="17365C"/>
              </a:solidFill>
            </a:endParaRPr>
          </a:p>
        </p:txBody>
      </p:sp>
      <p:sp>
        <p:nvSpPr>
          <p:cNvPr id="18" name="Retângulo 17"/>
          <p:cNvSpPr/>
          <p:nvPr userDrawn="1"/>
        </p:nvSpPr>
        <p:spPr>
          <a:xfrm>
            <a:off x="424216" y="3"/>
            <a:ext cx="5238427" cy="5456255"/>
          </a:xfrm>
          <a:prstGeom prst="rect">
            <a:avLst/>
          </a:prstGeom>
          <a:solidFill>
            <a:schemeClr val="tx2">
              <a:lumMod val="75000"/>
              <a:alpha val="66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hangingPunct="1"/>
            <a:endParaRPr lang="pt-BR" sz="1350" kern="1200">
              <a:solidFill>
                <a:prstClr val="white"/>
              </a:solidFill>
            </a:endParaRPr>
          </a:p>
        </p:txBody>
      </p:sp>
      <p:pic>
        <p:nvPicPr>
          <p:cNvPr id="20" name="Imagem 1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141" y="4074902"/>
            <a:ext cx="4646275" cy="886025"/>
          </a:xfrm>
          <a:prstGeom prst="rect">
            <a:avLst/>
          </a:prstGeom>
        </p:spPr>
      </p:pic>
      <p:sp>
        <p:nvSpPr>
          <p:cNvPr id="22" name="CaixaDeTexto 21"/>
          <p:cNvSpPr txBox="1"/>
          <p:nvPr userDrawn="1"/>
        </p:nvSpPr>
        <p:spPr>
          <a:xfrm>
            <a:off x="2112848" y="4963885"/>
            <a:ext cx="61747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hangingPunct="1"/>
            <a:r>
              <a:rPr lang="pt-BR" sz="900" kern="1200" dirty="0">
                <a:solidFill>
                  <a:prstClr val="white"/>
                </a:solidFill>
              </a:rPr>
              <a:t>CLIENTES</a:t>
            </a:r>
          </a:p>
        </p:txBody>
      </p:sp>
      <p:sp>
        <p:nvSpPr>
          <p:cNvPr id="23" name="CaixaDeTexto 22"/>
          <p:cNvSpPr txBox="1"/>
          <p:nvPr userDrawn="1"/>
        </p:nvSpPr>
        <p:spPr>
          <a:xfrm>
            <a:off x="4689829" y="4963885"/>
            <a:ext cx="52450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hangingPunct="1"/>
            <a:r>
              <a:rPr lang="pt-BR" sz="900" kern="1200">
                <a:solidFill>
                  <a:prstClr val="white"/>
                </a:solidFill>
              </a:rPr>
              <a:t>COISAS</a:t>
            </a:r>
            <a:endParaRPr lang="pt-BR" sz="900" kern="1200" dirty="0">
              <a:solidFill>
                <a:prstClr val="white"/>
              </a:solidFill>
            </a:endParaRPr>
          </a:p>
        </p:txBody>
      </p:sp>
      <p:sp>
        <p:nvSpPr>
          <p:cNvPr id="24" name="CaixaDeTexto 23"/>
          <p:cNvSpPr txBox="1"/>
          <p:nvPr userDrawn="1"/>
        </p:nvSpPr>
        <p:spPr>
          <a:xfrm>
            <a:off x="3202812" y="4963885"/>
            <a:ext cx="89800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hangingPunct="1"/>
            <a:r>
              <a:rPr lang="pt-BR" sz="900" kern="1200">
                <a:solidFill>
                  <a:prstClr val="white"/>
                </a:solidFill>
              </a:rPr>
              <a:t>ECOSSISTEMAS</a:t>
            </a:r>
            <a:endParaRPr lang="pt-BR" sz="900" kern="1200" dirty="0">
              <a:solidFill>
                <a:prstClr val="white"/>
              </a:solidFill>
            </a:endParaRPr>
          </a:p>
        </p:txBody>
      </p:sp>
      <p:sp>
        <p:nvSpPr>
          <p:cNvPr id="25" name="CaixaDeTexto 24"/>
          <p:cNvSpPr txBox="1"/>
          <p:nvPr userDrawn="1"/>
        </p:nvSpPr>
        <p:spPr>
          <a:xfrm>
            <a:off x="676054" y="4963885"/>
            <a:ext cx="91403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hangingPunct="1"/>
            <a:r>
              <a:rPr lang="pt-BR" sz="900" kern="1200">
                <a:solidFill>
                  <a:prstClr val="white"/>
                </a:solidFill>
              </a:rPr>
              <a:t>SISTEMAS DE TI</a:t>
            </a:r>
            <a:endParaRPr lang="pt-BR" sz="900" kern="1200" dirty="0">
              <a:solidFill>
                <a:prstClr val="white"/>
              </a:solidFill>
            </a:endParaRPr>
          </a:p>
        </p:txBody>
      </p:sp>
      <p:pic>
        <p:nvPicPr>
          <p:cNvPr id="27" name="Picture 30" descr="bg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40" t="-32" b="28141"/>
          <a:stretch/>
        </p:blipFill>
        <p:spPr>
          <a:xfrm>
            <a:off x="0" y="1"/>
            <a:ext cx="7746867" cy="4928716"/>
          </a:xfrm>
          <a:prstGeom prst="rect">
            <a:avLst/>
          </a:prstGeom>
        </p:spPr>
      </p:pic>
      <p:grpSp>
        <p:nvGrpSpPr>
          <p:cNvPr id="28" name="Grupo 27"/>
          <p:cNvGrpSpPr/>
          <p:nvPr userDrawn="1"/>
        </p:nvGrpSpPr>
        <p:grpSpPr>
          <a:xfrm>
            <a:off x="-6937448" y="1048164"/>
            <a:ext cx="5399959" cy="2525711"/>
            <a:chOff x="600475" y="1823075"/>
            <a:chExt cx="5399959" cy="2525711"/>
          </a:xfrm>
        </p:grpSpPr>
        <p:sp>
          <p:nvSpPr>
            <p:cNvPr id="29" name="CaixaDeTexto 28"/>
            <p:cNvSpPr txBox="1"/>
            <p:nvPr userDrawn="1"/>
          </p:nvSpPr>
          <p:spPr>
            <a:xfrm>
              <a:off x="600475" y="2034784"/>
              <a:ext cx="5399959" cy="19812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hangingPunct="1"/>
              <a:r>
                <a:rPr lang="pt-BR" sz="2700" kern="1200" dirty="0">
                  <a:solidFill>
                    <a:prstClr val="white"/>
                  </a:solidFill>
                  <a:latin typeface="NewJuneRegular" charset="0"/>
                  <a:ea typeface="NewJuneRegular" charset="0"/>
                  <a:cs typeface="NewJuneRegular" charset="0"/>
                </a:rPr>
                <a:t>Direcionamento </a:t>
              </a:r>
              <a:br>
                <a:rPr lang="pt-BR" sz="2700" kern="1200" dirty="0">
                  <a:solidFill>
                    <a:prstClr val="white"/>
                  </a:solidFill>
                  <a:latin typeface="NewJuneRegular" charset="0"/>
                  <a:ea typeface="NewJuneRegular" charset="0"/>
                  <a:cs typeface="NewJuneRegular" charset="0"/>
                </a:rPr>
              </a:br>
              <a:r>
                <a:rPr lang="pt-BR" sz="2700" kern="1200" dirty="0">
                  <a:solidFill>
                    <a:prstClr val="white"/>
                  </a:solidFill>
                  <a:latin typeface="NewJuneRegular" charset="0"/>
                  <a:ea typeface="NewJuneRegular" charset="0"/>
                  <a:cs typeface="NewJuneRegular" charset="0"/>
                </a:rPr>
                <a:t>Estratégico </a:t>
              </a:r>
            </a:p>
            <a:p>
              <a:pPr algn="ctr" hangingPunct="1"/>
              <a:r>
                <a:rPr lang="pt-BR" sz="4050" kern="1200" dirty="0">
                  <a:solidFill>
                    <a:prstClr val="white"/>
                  </a:solidFill>
                  <a:latin typeface="NewJuneRegular" charset="0"/>
                  <a:ea typeface="NewJuneRegular" charset="0"/>
                  <a:cs typeface="NewJuneRegular" charset="0"/>
                </a:rPr>
                <a:t>TI 2017</a:t>
              </a:r>
              <a:endParaRPr lang="pt-BR" sz="2700" kern="1200" dirty="0">
                <a:solidFill>
                  <a:prstClr val="white"/>
                </a:solidFill>
                <a:latin typeface="NewJuneRegular" charset="0"/>
                <a:ea typeface="NewJuneRegular" charset="0"/>
                <a:cs typeface="NewJuneRegular" charset="0"/>
              </a:endParaRPr>
            </a:p>
            <a:p>
              <a:pPr algn="ctr" hangingPunct="1">
                <a:lnSpc>
                  <a:spcPct val="150000"/>
                </a:lnSpc>
              </a:pPr>
              <a:r>
                <a:rPr lang="pt-BR" sz="2100" kern="1200" dirty="0">
                  <a:solidFill>
                    <a:prstClr val="white"/>
                  </a:solidFill>
                  <a:latin typeface="NewJuneBold" charset="0"/>
                  <a:ea typeface="NewJuneBold" charset="0"/>
                  <a:cs typeface="NewJuneBold" charset="0"/>
                </a:rPr>
                <a:t>DIGITIZAÇÃO</a:t>
              </a:r>
              <a:endParaRPr lang="pt-BR" sz="3000" kern="1200" dirty="0">
                <a:solidFill>
                  <a:prstClr val="white"/>
                </a:solidFill>
                <a:latin typeface="NewJuneBold" charset="0"/>
                <a:ea typeface="NewJuneBold" charset="0"/>
                <a:cs typeface="NewJuneBold" charset="0"/>
              </a:endParaRPr>
            </a:p>
          </p:txBody>
        </p:sp>
        <p:sp>
          <p:nvSpPr>
            <p:cNvPr id="30" name="Forma Livre 29"/>
            <p:cNvSpPr/>
            <p:nvPr userDrawn="1"/>
          </p:nvSpPr>
          <p:spPr>
            <a:xfrm>
              <a:off x="1001325" y="1823075"/>
              <a:ext cx="4598258" cy="1946895"/>
            </a:xfrm>
            <a:custGeom>
              <a:avLst/>
              <a:gdLst>
                <a:gd name="connsiteX0" fmla="*/ 960895 w 5563892"/>
                <a:gd name="connsiteY0" fmla="*/ 2324746 h 2355742"/>
                <a:gd name="connsiteX1" fmla="*/ 0 w 5563892"/>
                <a:gd name="connsiteY1" fmla="*/ 2324746 h 2355742"/>
                <a:gd name="connsiteX2" fmla="*/ 0 w 5563892"/>
                <a:gd name="connsiteY2" fmla="*/ 0 h 2355742"/>
                <a:gd name="connsiteX3" fmla="*/ 5563892 w 5563892"/>
                <a:gd name="connsiteY3" fmla="*/ 0 h 2355742"/>
                <a:gd name="connsiteX4" fmla="*/ 5563892 w 5563892"/>
                <a:gd name="connsiteY4" fmla="*/ 2355742 h 2355742"/>
                <a:gd name="connsiteX5" fmla="*/ 4448014 w 5563892"/>
                <a:gd name="connsiteY5" fmla="*/ 2355742 h 2355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63892" h="2355742">
                  <a:moveTo>
                    <a:pt x="960895" y="2324746"/>
                  </a:moveTo>
                  <a:lnTo>
                    <a:pt x="0" y="2324746"/>
                  </a:lnTo>
                  <a:lnTo>
                    <a:pt x="0" y="0"/>
                  </a:lnTo>
                  <a:lnTo>
                    <a:pt x="5563892" y="0"/>
                  </a:lnTo>
                  <a:lnTo>
                    <a:pt x="5563892" y="2355742"/>
                  </a:lnTo>
                  <a:lnTo>
                    <a:pt x="4448014" y="2355742"/>
                  </a:lnTo>
                </a:path>
              </a:pathLst>
            </a:custGeom>
            <a:noFill/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hangingPunct="1"/>
              <a:endParaRPr lang="pt-BR" sz="900" kern="1200">
                <a:solidFill>
                  <a:prstClr val="white"/>
                </a:solidFill>
              </a:endParaRPr>
            </a:p>
          </p:txBody>
        </p:sp>
        <p:cxnSp>
          <p:nvCxnSpPr>
            <p:cNvPr id="31" name="Conector Reto 30"/>
            <p:cNvCxnSpPr/>
            <p:nvPr userDrawn="1"/>
          </p:nvCxnSpPr>
          <p:spPr>
            <a:xfrm flipV="1">
              <a:off x="1001325" y="4339525"/>
              <a:ext cx="842973" cy="9261"/>
            </a:xfrm>
            <a:prstGeom prst="lin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" name="Conector Reto 31"/>
            <p:cNvCxnSpPr/>
            <p:nvPr userDrawn="1"/>
          </p:nvCxnSpPr>
          <p:spPr>
            <a:xfrm flipV="1">
              <a:off x="4756610" y="4339525"/>
              <a:ext cx="842973" cy="9261"/>
            </a:xfrm>
            <a:prstGeom prst="line">
              <a:avLst/>
            </a:prstGeom>
            <a:noFill/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</p:grpSp>
      <p:pic>
        <p:nvPicPr>
          <p:cNvPr id="33" name="Imagem 3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" y="778931"/>
            <a:ext cx="5401056" cy="2993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795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01" descr="bg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3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7403" y="198181"/>
            <a:ext cx="552407" cy="552407"/>
          </a:xfrm>
          <a:prstGeom prst="rect">
            <a:avLst/>
          </a:prstGeom>
        </p:spPr>
      </p:pic>
      <p:pic>
        <p:nvPicPr>
          <p:cNvPr id="4" name="Picture 3" descr="C:\Users\43591863\Downloads\iStock-506547582.jpg"/>
          <p:cNvPicPr>
            <a:picLocks noChangeAspect="1" noChangeArrowheads="1"/>
          </p:cNvPicPr>
          <p:nvPr userDrawn="1"/>
        </p:nvPicPr>
        <p:blipFill rotWithShape="1">
          <a:blip r:embed="rId4">
            <a:duotone>
              <a:srgbClr val="EEECE1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22" b="11468"/>
          <a:stretch/>
        </p:blipFill>
        <p:spPr bwMode="auto">
          <a:xfrm>
            <a:off x="-1" y="1340008"/>
            <a:ext cx="12192001" cy="4939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4644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01" descr="b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3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7403" y="198181"/>
            <a:ext cx="552407" cy="552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304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133" userDrawn="1">
          <p15:clr>
            <a:srgbClr val="FBAE40"/>
          </p15:clr>
        </p15:guide>
        <p15:guide id="2" pos="252" userDrawn="1">
          <p15:clr>
            <a:srgbClr val="FBAE40"/>
          </p15:clr>
        </p15:guide>
        <p15:guide id="3" pos="10011" userDrawn="1">
          <p15:clr>
            <a:srgbClr val="FBAE40"/>
          </p15:clr>
        </p15:guide>
        <p15:guide id="4" orient="horz" pos="58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3095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2831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az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3761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slide inter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m 26"/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6" y="629"/>
            <a:ext cx="12180648" cy="2032000"/>
          </a:xfrm>
          <a:prstGeom prst="rect">
            <a:avLst/>
          </a:prstGeom>
        </p:spPr>
      </p:pic>
      <p:sp>
        <p:nvSpPr>
          <p:cNvPr id="14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9154611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hangingPunct="1"/>
            <a:fld id="{C64BB25D-AEB1-6D41-B7AD-44B09FB28A47}" type="slidenum">
              <a:rPr lang="pt-BR" kern="1200" smtClean="0">
                <a:solidFill>
                  <a:prstClr val="black"/>
                </a:solidFill>
              </a:rPr>
              <a:pPr hangingPunct="1"/>
              <a:t>‹nº›</a:t>
            </a:fld>
            <a:endParaRPr lang="pt-BR" kern="1200" dirty="0">
              <a:solidFill>
                <a:prstClr val="black"/>
              </a:solidFill>
            </a:endParaRPr>
          </a:p>
        </p:txBody>
      </p:sp>
      <p:sp>
        <p:nvSpPr>
          <p:cNvPr id="15" name="Espaço Reservado para Texto 20"/>
          <p:cNvSpPr>
            <a:spLocks noGrp="1"/>
          </p:cNvSpPr>
          <p:nvPr>
            <p:ph type="body" sz="quarter" idx="13" hasCustomPrompt="1"/>
          </p:nvPr>
        </p:nvSpPr>
        <p:spPr>
          <a:xfrm>
            <a:off x="9020929" y="483007"/>
            <a:ext cx="2152651" cy="27168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lang="pt-BR" sz="135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pt-BR" b="1" dirty="0"/>
              <a:t>Nome</a:t>
            </a:r>
          </a:p>
        </p:txBody>
      </p:sp>
      <p:pic>
        <p:nvPicPr>
          <p:cNvPr id="20" name="Imagem 1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929"/>
          <a:stretch/>
        </p:blipFill>
        <p:spPr>
          <a:xfrm>
            <a:off x="11135474" y="235985"/>
            <a:ext cx="1056529" cy="636008"/>
          </a:xfrm>
          <a:prstGeom prst="rect">
            <a:avLst/>
          </a:prstGeom>
        </p:spPr>
      </p:pic>
      <p:sp>
        <p:nvSpPr>
          <p:cNvPr id="3" name="CaixaDeTexto 2"/>
          <p:cNvSpPr txBox="1"/>
          <p:nvPr userDrawn="1"/>
        </p:nvSpPr>
        <p:spPr>
          <a:xfrm>
            <a:off x="7112888" y="-369277"/>
            <a:ext cx="18473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hangingPunct="1"/>
            <a:endParaRPr lang="pt-BR" sz="1350" b="1" kern="1200" dirty="0">
              <a:solidFill>
                <a:prstClr val="black"/>
              </a:solidFill>
            </a:endParaRPr>
          </a:p>
        </p:txBody>
      </p:sp>
      <p:sp>
        <p:nvSpPr>
          <p:cNvPr id="5" name="Retângulo 4"/>
          <p:cNvSpPr/>
          <p:nvPr userDrawn="1"/>
        </p:nvSpPr>
        <p:spPr>
          <a:xfrm>
            <a:off x="0" y="929815"/>
            <a:ext cx="12192000" cy="283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hangingPunct="1"/>
            <a:endParaRPr lang="pt-BR" sz="1350" kern="1200" dirty="0">
              <a:solidFill>
                <a:prstClr val="white"/>
              </a:solidFill>
            </a:endParaRPr>
          </a:p>
        </p:txBody>
      </p:sp>
      <p:sp>
        <p:nvSpPr>
          <p:cNvPr id="29" name="Espaço Reservado para Texto 28"/>
          <p:cNvSpPr>
            <a:spLocks noGrp="1"/>
          </p:cNvSpPr>
          <p:nvPr>
            <p:ph type="body" sz="quarter" idx="16" hasCustomPrompt="1"/>
          </p:nvPr>
        </p:nvSpPr>
        <p:spPr>
          <a:xfrm>
            <a:off x="202224" y="194041"/>
            <a:ext cx="3921125" cy="5229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100" b="1"/>
            </a:lvl1pPr>
          </a:lstStyle>
          <a:p>
            <a:pPr marL="171450" marR="0" lvl="0" indent="-17145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BR" dirty="0"/>
              <a:t>Título Slide</a:t>
            </a:r>
          </a:p>
        </p:txBody>
      </p:sp>
      <p:sp>
        <p:nvSpPr>
          <p:cNvPr id="4" name="CaixaDeTexto 3"/>
          <p:cNvSpPr txBox="1"/>
          <p:nvPr userDrawn="1"/>
        </p:nvSpPr>
        <p:spPr>
          <a:xfrm>
            <a:off x="10733167" y="175758"/>
            <a:ext cx="43152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hangingPunct="1"/>
            <a:r>
              <a:rPr lang="pt-BR" sz="1350" b="1" kern="1200" dirty="0">
                <a:solidFill>
                  <a:prstClr val="black"/>
                </a:solidFill>
              </a:rPr>
              <a:t>DPI</a:t>
            </a:r>
          </a:p>
        </p:txBody>
      </p:sp>
    </p:spTree>
    <p:extLst>
      <p:ext uri="{BB962C8B-B14F-4D97-AF65-F5344CB8AC3E}">
        <p14:creationId xmlns:p14="http://schemas.microsoft.com/office/powerpoint/2010/main" val="71644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tângulo 22"/>
          <p:cNvSpPr/>
          <p:nvPr userDrawn="1"/>
        </p:nvSpPr>
        <p:spPr>
          <a:xfrm>
            <a:off x="115315" y="2349077"/>
            <a:ext cx="11659595" cy="407315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390" tIns="25697" rIns="51390" bIns="25697" rtlCol="0" anchor="ctr"/>
          <a:lstStyle/>
          <a:p>
            <a:pPr algn="ctr" hangingPunct="1"/>
            <a:endParaRPr lang="pt-BR" sz="1350" kern="1200" dirty="0">
              <a:solidFill>
                <a:prstClr val="white"/>
              </a:solidFill>
            </a:endParaRPr>
          </a:p>
        </p:txBody>
      </p:sp>
      <p:sp>
        <p:nvSpPr>
          <p:cNvPr id="29" name="Espaço Reservado para Texto 7"/>
          <p:cNvSpPr txBox="1">
            <a:spLocks/>
          </p:cNvSpPr>
          <p:nvPr userDrawn="1"/>
        </p:nvSpPr>
        <p:spPr>
          <a:xfrm>
            <a:off x="852399" y="37579"/>
            <a:ext cx="7904735" cy="625719"/>
          </a:xfrm>
          <a:prstGeom prst="rect">
            <a:avLst/>
          </a:prstGeom>
        </p:spPr>
        <p:txBody>
          <a:bodyPr lIns="51390" tIns="25697" rIns="51390" bIns="25697" anchor="ctr"/>
          <a:lstStyle>
            <a:lvl1pPr marL="0" indent="0" algn="l" defTabSz="1600017" rtl="0" eaLnBrk="1" latinLnBrk="0" hangingPunct="1">
              <a:spcBef>
                <a:spcPct val="20000"/>
              </a:spcBef>
              <a:buFont typeface="Arial" pitchFamily="34" charset="0"/>
              <a:buNone/>
              <a:defRPr sz="2800" b="1" kern="1200">
                <a:solidFill>
                  <a:schemeClr val="bg1"/>
                </a:solidFill>
                <a:latin typeface="Segoe UI Light" pitchFamily="34" charset="0"/>
                <a:ea typeface="+mn-ea"/>
                <a:cs typeface="+mn-cs"/>
              </a:defRPr>
            </a:lvl1pPr>
            <a:lvl2pPr marL="1300014" indent="-500005" algn="l" defTabSz="160001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48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00021" indent="-400004" algn="l" defTabSz="16000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4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00030" indent="-400004" algn="l" defTabSz="160001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39" indent="-400004" algn="l" defTabSz="160001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400047" indent="-400004" algn="l" defTabSz="16000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00056" indent="-400004" algn="l" defTabSz="16000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00064" indent="-400004" algn="l" defTabSz="16000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800073" indent="-400004" algn="l" defTabSz="16000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3922"/>
            <a:endParaRPr lang="pt-BR" sz="2025" dirty="0">
              <a:solidFill>
                <a:prstClr val="white"/>
              </a:solidFill>
            </a:endParaRPr>
          </a:p>
        </p:txBody>
      </p:sp>
      <p:sp>
        <p:nvSpPr>
          <p:cNvPr id="6" name="CaixaDeTexto 5"/>
          <p:cNvSpPr txBox="1"/>
          <p:nvPr userDrawn="1"/>
        </p:nvSpPr>
        <p:spPr>
          <a:xfrm>
            <a:off x="11282133" y="6397243"/>
            <a:ext cx="781635" cy="294252"/>
          </a:xfrm>
          <a:prstGeom prst="rect">
            <a:avLst/>
          </a:prstGeom>
          <a:noFill/>
        </p:spPr>
        <p:txBody>
          <a:bodyPr wrap="square" lIns="51374" tIns="25688" rIns="51374" bIns="25688" rtlCol="0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85338"/>
            <a:r>
              <a:rPr lang="pt-BR" sz="1575" dirty="0">
                <a:solidFill>
                  <a:prstClr val="black"/>
                </a:solidFill>
              </a:rPr>
              <a:t>/35</a:t>
            </a:r>
          </a:p>
        </p:txBody>
      </p:sp>
    </p:spTree>
    <p:extLst>
      <p:ext uri="{BB962C8B-B14F-4D97-AF65-F5344CB8AC3E}">
        <p14:creationId xmlns:p14="http://schemas.microsoft.com/office/powerpoint/2010/main" val="376034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BC082-ACFF-404C-8931-CC945D62630D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FF2E1-A785-4D5E-9AA1-76D6E8BD0068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304802" y="1325566"/>
            <a:ext cx="5670551" cy="45545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6218241" y="1325566"/>
            <a:ext cx="5662612" cy="45545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304800" y="228602"/>
            <a:ext cx="11576051" cy="5355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701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0" y="0"/>
            <a:ext cx="12185400" cy="685800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0" y="0"/>
            <a:ext cx="12185400" cy="6858000"/>
          </a:xfrm>
          <a:prstGeom prst="rect">
            <a:avLst/>
          </a:prstGeom>
        </p:spPr>
      </p:pic>
      <p:grpSp>
        <p:nvGrpSpPr>
          <p:cNvPr id="8" name="Agrupar 12"/>
          <p:cNvGrpSpPr>
            <a:grpSpLocks noChangeAspect="1"/>
          </p:cNvGrpSpPr>
          <p:nvPr userDrawn="1"/>
        </p:nvGrpSpPr>
        <p:grpSpPr>
          <a:xfrm>
            <a:off x="202285" y="193385"/>
            <a:ext cx="11712000" cy="402204"/>
            <a:chOff x="0" y="0"/>
            <a:chExt cx="8899848" cy="305627"/>
          </a:xfrm>
        </p:grpSpPr>
        <p:pic>
          <p:nvPicPr>
            <p:cNvPr id="9" name="Imagem 9" descr="Imagem 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020479" y="0"/>
              <a:ext cx="879369" cy="3056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10" name="Conector reto 10"/>
            <p:cNvSpPr/>
            <p:nvPr/>
          </p:nvSpPr>
          <p:spPr>
            <a:xfrm flipH="1" flipV="1">
              <a:off x="0" y="227580"/>
              <a:ext cx="8053765" cy="1"/>
            </a:xfrm>
            <a:prstGeom prst="line">
              <a:avLst/>
            </a:prstGeom>
            <a:noFill/>
            <a:ln w="12700" cap="flat">
              <a:solidFill>
                <a:srgbClr val="CF112D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endParaRPr sz="1800"/>
            </a:p>
          </p:txBody>
        </p:sp>
      </p:grpSp>
      <p:sp>
        <p:nvSpPr>
          <p:cNvPr id="11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8385631" y="6176860"/>
            <a:ext cx="351972" cy="358983"/>
          </a:xfrm>
          <a:prstGeom prst="rect">
            <a:avLst/>
          </a:prstGeom>
        </p:spPr>
        <p:txBody>
          <a:bodyPr lIns="45718" tIns="45718" rIns="45718" bIns="45718"/>
          <a:lstStyle>
            <a:lvl1pPr>
              <a:defRPr sz="12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  <p:sp>
        <p:nvSpPr>
          <p:cNvPr id="12" name="Retângulo 11"/>
          <p:cNvSpPr/>
          <p:nvPr userDrawn="1"/>
        </p:nvSpPr>
        <p:spPr>
          <a:xfrm>
            <a:off x="3301" y="3244336"/>
            <a:ext cx="12185401" cy="369328"/>
          </a:xfrm>
          <a:prstGeom prst="rect">
            <a:avLst/>
          </a:prstGeom>
          <a:solidFill>
            <a:srgbClr val="F8F8F8">
              <a:alpha val="21000"/>
            </a:srgb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13" name="Retângulo 12"/>
          <p:cNvSpPr/>
          <p:nvPr userDrawn="1"/>
        </p:nvSpPr>
        <p:spPr>
          <a:xfrm>
            <a:off x="349322" y="3244336"/>
            <a:ext cx="11493357" cy="369328"/>
          </a:xfrm>
          <a:prstGeom prst="rect">
            <a:avLst/>
          </a:prstGeom>
          <a:solidFill>
            <a:srgbClr val="F8F8F8"/>
          </a:solidFill>
          <a:ln w="25400" cap="flat">
            <a:noFill/>
            <a:prstDash val="solid"/>
            <a:round/>
          </a:ln>
          <a:effectLst>
            <a:outerShdw blurRad="177800" dist="63500" dir="5400000" algn="t" rotWithShape="0">
              <a:prstClr val="black">
                <a:alpha val="12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885040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Member-Individual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" name="Shape 1272"/>
          <p:cNvSpPr>
            <a:spLocks noGrp="1"/>
          </p:cNvSpPr>
          <p:nvPr>
            <p:ph type="pic" idx="13"/>
          </p:nvPr>
        </p:nvSpPr>
        <p:spPr>
          <a:xfrm>
            <a:off x="-14436" y="894"/>
            <a:ext cx="5939435" cy="6876476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6"/>
              <a:gd name="connsiteX1" fmla="*/ 10000 w 10000"/>
              <a:gd name="connsiteY1" fmla="*/ 0 h 10006"/>
              <a:gd name="connsiteX2" fmla="*/ 8000 w 10000"/>
              <a:gd name="connsiteY2" fmla="*/ 10000 h 10006"/>
              <a:gd name="connsiteX3" fmla="*/ 19 w 10000"/>
              <a:gd name="connsiteY3" fmla="*/ 10006 h 10006"/>
              <a:gd name="connsiteX4" fmla="*/ 0 w 10000"/>
              <a:gd name="connsiteY4" fmla="*/ 0 h 10006"/>
              <a:gd name="connsiteX0" fmla="*/ 0 w 10000"/>
              <a:gd name="connsiteY0" fmla="*/ 0 h 10006"/>
              <a:gd name="connsiteX1" fmla="*/ 10000 w 10000"/>
              <a:gd name="connsiteY1" fmla="*/ 0 h 10006"/>
              <a:gd name="connsiteX2" fmla="*/ 6161 w 10000"/>
              <a:gd name="connsiteY2" fmla="*/ 10006 h 10006"/>
              <a:gd name="connsiteX3" fmla="*/ 19 w 10000"/>
              <a:gd name="connsiteY3" fmla="*/ 10006 h 10006"/>
              <a:gd name="connsiteX4" fmla="*/ 0 w 10000"/>
              <a:gd name="connsiteY4" fmla="*/ 0 h 10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6">
                <a:moveTo>
                  <a:pt x="0" y="0"/>
                </a:moveTo>
                <a:lnTo>
                  <a:pt x="10000" y="0"/>
                </a:lnTo>
                <a:lnTo>
                  <a:pt x="6161" y="10006"/>
                </a:lnTo>
                <a:lnTo>
                  <a:pt x="19" y="10006"/>
                </a:lnTo>
                <a:cubicBezTo>
                  <a:pt x="13" y="6671"/>
                  <a:pt x="6" y="3335"/>
                  <a:pt x="0" y="0"/>
                </a:cubicBezTo>
                <a:close/>
              </a:path>
            </a:pathLst>
          </a:cu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91439" tIns="45719" rIns="91439" bIns="45719" anchor="t">
            <a:noAutofit/>
          </a:bodyPr>
          <a:lstStyle>
            <a:lvl1pPr>
              <a:defRPr sz="1000"/>
            </a:lvl1pPr>
          </a:lstStyle>
          <a:p>
            <a:endParaRPr/>
          </a:p>
        </p:txBody>
      </p:sp>
      <p:sp>
        <p:nvSpPr>
          <p:cNvPr id="1284" name="Shape 1284"/>
          <p:cNvSpPr>
            <a:spLocks noGrp="1"/>
          </p:cNvSpPr>
          <p:nvPr>
            <p:ph type="title"/>
          </p:nvPr>
        </p:nvSpPr>
        <p:spPr>
          <a:xfrm>
            <a:off x="609009" y="547695"/>
            <a:ext cx="9652023" cy="363676"/>
          </a:xfrm>
          <a:prstGeom prst="rect">
            <a:avLst/>
          </a:prstGeom>
        </p:spPr>
        <p:txBody>
          <a:bodyPr anchor="t"/>
          <a:lstStyle>
            <a:lvl1pPr algn="l">
              <a:defRPr sz="1313" cap="all">
                <a:solidFill>
                  <a:srgbClr val="FFFFFF"/>
                </a:solidFill>
                <a:latin typeface="Geomanist Bold"/>
                <a:ea typeface="Geomanist Bold"/>
                <a:cs typeface="Geomanist Bold"/>
                <a:sym typeface="Geomanist Bold"/>
              </a:defRPr>
            </a:lvl1pPr>
          </a:lstStyle>
          <a:p>
            <a:r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val="170458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1571620"/>
            <a:ext cx="12192000" cy="333716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922645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ur Miss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Shape 171"/>
          <p:cNvSpPr>
            <a:spLocks noGrp="1"/>
          </p:cNvSpPr>
          <p:nvPr>
            <p:ph type="pic" sz="half" idx="13"/>
          </p:nvPr>
        </p:nvSpPr>
        <p:spPr>
          <a:xfrm>
            <a:off x="5" y="1520451"/>
            <a:ext cx="8139980" cy="291984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 sz="1000"/>
            </a:lvl1pPr>
          </a:lstStyle>
          <a:p>
            <a:endParaRPr/>
          </a:p>
        </p:txBody>
      </p:sp>
      <p:sp>
        <p:nvSpPr>
          <p:cNvPr id="172" name="Shape 172"/>
          <p:cNvSpPr>
            <a:spLocks noGrp="1"/>
          </p:cNvSpPr>
          <p:nvPr>
            <p:ph type="pic" idx="14"/>
          </p:nvPr>
        </p:nvSpPr>
        <p:spPr>
          <a:xfrm>
            <a:off x="5098125" y="-37785"/>
            <a:ext cx="7116204" cy="6915641"/>
          </a:xfrm>
          <a:custGeom>
            <a:avLst/>
            <a:gdLst>
              <a:gd name="connsiteX0" fmla="*/ 0 w 5337153"/>
              <a:gd name="connsiteY0" fmla="*/ 0 h 5173284"/>
              <a:gd name="connsiteX1" fmla="*/ 5337153 w 5337153"/>
              <a:gd name="connsiteY1" fmla="*/ 0 h 5173284"/>
              <a:gd name="connsiteX2" fmla="*/ 5337153 w 5337153"/>
              <a:gd name="connsiteY2" fmla="*/ 5173284 h 5173284"/>
              <a:gd name="connsiteX3" fmla="*/ 0 w 5337153"/>
              <a:gd name="connsiteY3" fmla="*/ 5173284 h 5173284"/>
              <a:gd name="connsiteX4" fmla="*/ 0 w 5337153"/>
              <a:gd name="connsiteY4" fmla="*/ 0 h 5173284"/>
              <a:gd name="connsiteX0" fmla="*/ 2857500 w 5337153"/>
              <a:gd name="connsiteY0" fmla="*/ 0 h 5186731"/>
              <a:gd name="connsiteX1" fmla="*/ 5337153 w 5337153"/>
              <a:gd name="connsiteY1" fmla="*/ 13447 h 5186731"/>
              <a:gd name="connsiteX2" fmla="*/ 5337153 w 5337153"/>
              <a:gd name="connsiteY2" fmla="*/ 5186731 h 5186731"/>
              <a:gd name="connsiteX3" fmla="*/ 0 w 5337153"/>
              <a:gd name="connsiteY3" fmla="*/ 5186731 h 5186731"/>
              <a:gd name="connsiteX4" fmla="*/ 2857500 w 5337153"/>
              <a:gd name="connsiteY4" fmla="*/ 0 h 5186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37153" h="5186731">
                <a:moveTo>
                  <a:pt x="2857500" y="0"/>
                </a:moveTo>
                <a:lnTo>
                  <a:pt x="5337153" y="13447"/>
                </a:lnTo>
                <a:lnTo>
                  <a:pt x="5337153" y="5186731"/>
                </a:lnTo>
                <a:lnTo>
                  <a:pt x="0" y="5186731"/>
                </a:lnTo>
                <a:lnTo>
                  <a:pt x="2857500" y="0"/>
                </a:lnTo>
                <a:close/>
              </a:path>
            </a:pathLst>
          </a:cu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39" tIns="45719" rIns="91439" bIns="45719" anchor="t">
            <a:noAutofit/>
          </a:bodyPr>
          <a:lstStyle>
            <a:lvl1pPr>
              <a:defRPr sz="1000"/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61365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pPr hangingPunct="1"/>
            <a:fld id="{C764DE79-268F-4C1A-8933-263129D2AF90}" type="datetimeFigureOut">
              <a:rPr lang="en-US" kern="1200" smtClean="0">
                <a:solidFill>
                  <a:prstClr val="black"/>
                </a:solidFill>
              </a:rPr>
              <a:pPr hangingPunct="1"/>
              <a:t>8/20/2024</a:t>
            </a:fld>
            <a:endParaRPr lang="en-US" kern="120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3"/>
            <a:ext cx="4114800" cy="365125"/>
          </a:xfrm>
          <a:prstGeom prst="rect">
            <a:avLst/>
          </a:prstGeom>
        </p:spPr>
        <p:txBody>
          <a:bodyPr/>
          <a:lstStyle/>
          <a:p>
            <a:pPr hangingPunct="1"/>
            <a:endParaRPr lang="en-US" kern="120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pPr hangingPunct="1"/>
            <a:fld id="{48F63A3B-78C7-47BE-AE5E-E10140E04643}" type="slidenum">
              <a:rPr lang="en-US" kern="1200" smtClean="0">
                <a:solidFill>
                  <a:prstClr val="black"/>
                </a:solidFill>
              </a:rPr>
              <a:pPr hangingPunct="1"/>
              <a:t>‹nº›</a:t>
            </a:fld>
            <a:endParaRPr lang="en-US" kern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447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 rot="3279085">
            <a:off x="6456387" y="1662099"/>
            <a:ext cx="3540288" cy="5905553"/>
          </a:xfrm>
          <a:custGeom>
            <a:avLst/>
            <a:gdLst>
              <a:gd name="connsiteX0" fmla="*/ 0 w 4151313"/>
              <a:gd name="connsiteY0" fmla="*/ 0 h 6053138"/>
              <a:gd name="connsiteX1" fmla="*/ 4151313 w 4151313"/>
              <a:gd name="connsiteY1" fmla="*/ 0 h 6053138"/>
              <a:gd name="connsiteX2" fmla="*/ 4151313 w 4151313"/>
              <a:gd name="connsiteY2" fmla="*/ 6053138 h 6053138"/>
              <a:gd name="connsiteX3" fmla="*/ 0 w 4151313"/>
              <a:gd name="connsiteY3" fmla="*/ 6053138 h 6053138"/>
              <a:gd name="connsiteX4" fmla="*/ 0 w 4151313"/>
              <a:gd name="connsiteY4" fmla="*/ 0 h 6053138"/>
              <a:gd name="connsiteX0" fmla="*/ 0 w 4251255"/>
              <a:gd name="connsiteY0" fmla="*/ 391774 h 6444912"/>
              <a:gd name="connsiteX1" fmla="*/ 4251255 w 4251255"/>
              <a:gd name="connsiteY1" fmla="*/ 0 h 6444912"/>
              <a:gd name="connsiteX2" fmla="*/ 4151313 w 4251255"/>
              <a:gd name="connsiteY2" fmla="*/ 6444912 h 6444912"/>
              <a:gd name="connsiteX3" fmla="*/ 0 w 4251255"/>
              <a:gd name="connsiteY3" fmla="*/ 6444912 h 6444912"/>
              <a:gd name="connsiteX4" fmla="*/ 0 w 4251255"/>
              <a:gd name="connsiteY4" fmla="*/ 391774 h 6444912"/>
              <a:gd name="connsiteX0" fmla="*/ 0 w 4416171"/>
              <a:gd name="connsiteY0" fmla="*/ 523924 h 6577062"/>
              <a:gd name="connsiteX1" fmla="*/ 4416171 w 4416171"/>
              <a:gd name="connsiteY1" fmla="*/ 0 h 6577062"/>
              <a:gd name="connsiteX2" fmla="*/ 4151313 w 4416171"/>
              <a:gd name="connsiteY2" fmla="*/ 6577062 h 6577062"/>
              <a:gd name="connsiteX3" fmla="*/ 0 w 4416171"/>
              <a:gd name="connsiteY3" fmla="*/ 6577062 h 6577062"/>
              <a:gd name="connsiteX4" fmla="*/ 0 w 4416171"/>
              <a:gd name="connsiteY4" fmla="*/ 523924 h 6577062"/>
              <a:gd name="connsiteX0" fmla="*/ 0 w 4623485"/>
              <a:gd name="connsiteY0" fmla="*/ 590412 h 6643550"/>
              <a:gd name="connsiteX1" fmla="*/ 4623485 w 4623485"/>
              <a:gd name="connsiteY1" fmla="*/ 0 h 6643550"/>
              <a:gd name="connsiteX2" fmla="*/ 4151313 w 4623485"/>
              <a:gd name="connsiteY2" fmla="*/ 6643550 h 6643550"/>
              <a:gd name="connsiteX3" fmla="*/ 0 w 4623485"/>
              <a:gd name="connsiteY3" fmla="*/ 6643550 h 6643550"/>
              <a:gd name="connsiteX4" fmla="*/ 0 w 4623485"/>
              <a:gd name="connsiteY4" fmla="*/ 590412 h 6643550"/>
              <a:gd name="connsiteX0" fmla="*/ 769383 w 5392868"/>
              <a:gd name="connsiteY0" fmla="*/ 590412 h 8179809"/>
              <a:gd name="connsiteX1" fmla="*/ 5392868 w 5392868"/>
              <a:gd name="connsiteY1" fmla="*/ 0 h 8179809"/>
              <a:gd name="connsiteX2" fmla="*/ 4920696 w 5392868"/>
              <a:gd name="connsiteY2" fmla="*/ 6643550 h 8179809"/>
              <a:gd name="connsiteX3" fmla="*/ 0 w 5392868"/>
              <a:gd name="connsiteY3" fmla="*/ 8179809 h 8179809"/>
              <a:gd name="connsiteX4" fmla="*/ 769383 w 5392868"/>
              <a:gd name="connsiteY4" fmla="*/ 590412 h 8179809"/>
              <a:gd name="connsiteX0" fmla="*/ 463095 w 5086580"/>
              <a:gd name="connsiteY0" fmla="*/ 590412 h 8450447"/>
              <a:gd name="connsiteX1" fmla="*/ 5086580 w 5086580"/>
              <a:gd name="connsiteY1" fmla="*/ 0 h 8450447"/>
              <a:gd name="connsiteX2" fmla="*/ 4614408 w 5086580"/>
              <a:gd name="connsiteY2" fmla="*/ 6643550 h 8450447"/>
              <a:gd name="connsiteX3" fmla="*/ 0 w 5086580"/>
              <a:gd name="connsiteY3" fmla="*/ 8450447 h 8450447"/>
              <a:gd name="connsiteX4" fmla="*/ 463095 w 5086580"/>
              <a:gd name="connsiteY4" fmla="*/ 590412 h 8450447"/>
              <a:gd name="connsiteX0" fmla="*/ 585200 w 5208685"/>
              <a:gd name="connsiteY0" fmla="*/ 590412 h 8773117"/>
              <a:gd name="connsiteX1" fmla="*/ 5208685 w 5208685"/>
              <a:gd name="connsiteY1" fmla="*/ 0 h 8773117"/>
              <a:gd name="connsiteX2" fmla="*/ 4736513 w 5208685"/>
              <a:gd name="connsiteY2" fmla="*/ 6643550 h 8773117"/>
              <a:gd name="connsiteX3" fmla="*/ 0 w 5208685"/>
              <a:gd name="connsiteY3" fmla="*/ 8773117 h 8773117"/>
              <a:gd name="connsiteX4" fmla="*/ 585200 w 5208685"/>
              <a:gd name="connsiteY4" fmla="*/ 590412 h 8773117"/>
              <a:gd name="connsiteX0" fmla="*/ 524081 w 5147566"/>
              <a:gd name="connsiteY0" fmla="*/ 590412 h 8887648"/>
              <a:gd name="connsiteX1" fmla="*/ 5147566 w 5147566"/>
              <a:gd name="connsiteY1" fmla="*/ 0 h 8887648"/>
              <a:gd name="connsiteX2" fmla="*/ 4675394 w 5147566"/>
              <a:gd name="connsiteY2" fmla="*/ 6643550 h 8887648"/>
              <a:gd name="connsiteX3" fmla="*/ 0 w 5147566"/>
              <a:gd name="connsiteY3" fmla="*/ 8887648 h 8887648"/>
              <a:gd name="connsiteX4" fmla="*/ 524081 w 5147566"/>
              <a:gd name="connsiteY4" fmla="*/ 590412 h 8887648"/>
              <a:gd name="connsiteX0" fmla="*/ 545831 w 5169316"/>
              <a:gd name="connsiteY0" fmla="*/ 590412 h 8943399"/>
              <a:gd name="connsiteX1" fmla="*/ 5169316 w 5169316"/>
              <a:gd name="connsiteY1" fmla="*/ 0 h 8943399"/>
              <a:gd name="connsiteX2" fmla="*/ 4697144 w 5169316"/>
              <a:gd name="connsiteY2" fmla="*/ 6643550 h 8943399"/>
              <a:gd name="connsiteX3" fmla="*/ 0 w 5169316"/>
              <a:gd name="connsiteY3" fmla="*/ 8943399 h 8943399"/>
              <a:gd name="connsiteX4" fmla="*/ 545831 w 5169316"/>
              <a:gd name="connsiteY4" fmla="*/ 590412 h 8943399"/>
              <a:gd name="connsiteX0" fmla="*/ 594700 w 5218185"/>
              <a:gd name="connsiteY0" fmla="*/ 590412 h 8962121"/>
              <a:gd name="connsiteX1" fmla="*/ 5218185 w 5218185"/>
              <a:gd name="connsiteY1" fmla="*/ 0 h 8962121"/>
              <a:gd name="connsiteX2" fmla="*/ 4746013 w 5218185"/>
              <a:gd name="connsiteY2" fmla="*/ 6643550 h 8962121"/>
              <a:gd name="connsiteX3" fmla="*/ 0 w 5218185"/>
              <a:gd name="connsiteY3" fmla="*/ 8962121 h 8962121"/>
              <a:gd name="connsiteX4" fmla="*/ 594700 w 5218185"/>
              <a:gd name="connsiteY4" fmla="*/ 590412 h 8962121"/>
              <a:gd name="connsiteX0" fmla="*/ 594700 w 5457840"/>
              <a:gd name="connsiteY0" fmla="*/ 590412 h 8962121"/>
              <a:gd name="connsiteX1" fmla="*/ 5218185 w 5457840"/>
              <a:gd name="connsiteY1" fmla="*/ 0 h 8962121"/>
              <a:gd name="connsiteX2" fmla="*/ 5457840 w 5457840"/>
              <a:gd name="connsiteY2" fmla="*/ 7095074 h 8962121"/>
              <a:gd name="connsiteX3" fmla="*/ 0 w 5457840"/>
              <a:gd name="connsiteY3" fmla="*/ 8962121 h 8962121"/>
              <a:gd name="connsiteX4" fmla="*/ 594700 w 5457840"/>
              <a:gd name="connsiteY4" fmla="*/ 590412 h 8962121"/>
              <a:gd name="connsiteX0" fmla="*/ 194395 w 5457840"/>
              <a:gd name="connsiteY0" fmla="*/ 0 h 9011547"/>
              <a:gd name="connsiteX1" fmla="*/ 5218185 w 5457840"/>
              <a:gd name="connsiteY1" fmla="*/ 49426 h 9011547"/>
              <a:gd name="connsiteX2" fmla="*/ 5457840 w 5457840"/>
              <a:gd name="connsiteY2" fmla="*/ 7144500 h 9011547"/>
              <a:gd name="connsiteX3" fmla="*/ 0 w 5457840"/>
              <a:gd name="connsiteY3" fmla="*/ 9011547 h 9011547"/>
              <a:gd name="connsiteX4" fmla="*/ 194395 w 5457840"/>
              <a:gd name="connsiteY4" fmla="*/ 0 h 9011547"/>
              <a:gd name="connsiteX0" fmla="*/ 310029 w 5457840"/>
              <a:gd name="connsiteY0" fmla="*/ 0 h 9249832"/>
              <a:gd name="connsiteX1" fmla="*/ 5218185 w 5457840"/>
              <a:gd name="connsiteY1" fmla="*/ 287711 h 9249832"/>
              <a:gd name="connsiteX2" fmla="*/ 5457840 w 5457840"/>
              <a:gd name="connsiteY2" fmla="*/ 7382785 h 9249832"/>
              <a:gd name="connsiteX3" fmla="*/ 0 w 5457840"/>
              <a:gd name="connsiteY3" fmla="*/ 9249832 h 9249832"/>
              <a:gd name="connsiteX4" fmla="*/ 310029 w 5457840"/>
              <a:gd name="connsiteY4" fmla="*/ 0 h 9249832"/>
              <a:gd name="connsiteX0" fmla="*/ 448238 w 5457840"/>
              <a:gd name="connsiteY0" fmla="*/ 0 h 9294157"/>
              <a:gd name="connsiteX1" fmla="*/ 5218185 w 5457840"/>
              <a:gd name="connsiteY1" fmla="*/ 332036 h 9294157"/>
              <a:gd name="connsiteX2" fmla="*/ 5457840 w 5457840"/>
              <a:gd name="connsiteY2" fmla="*/ 7427110 h 9294157"/>
              <a:gd name="connsiteX3" fmla="*/ 0 w 5457840"/>
              <a:gd name="connsiteY3" fmla="*/ 9294157 h 9294157"/>
              <a:gd name="connsiteX4" fmla="*/ 448238 w 5457840"/>
              <a:gd name="connsiteY4" fmla="*/ 0 h 9294157"/>
              <a:gd name="connsiteX0" fmla="*/ 607095 w 5457840"/>
              <a:gd name="connsiteY0" fmla="*/ 0 h 9217067"/>
              <a:gd name="connsiteX1" fmla="*/ 5218185 w 5457840"/>
              <a:gd name="connsiteY1" fmla="*/ 254946 h 9217067"/>
              <a:gd name="connsiteX2" fmla="*/ 5457840 w 5457840"/>
              <a:gd name="connsiteY2" fmla="*/ 7350020 h 9217067"/>
              <a:gd name="connsiteX3" fmla="*/ 0 w 5457840"/>
              <a:gd name="connsiteY3" fmla="*/ 9217067 h 9217067"/>
              <a:gd name="connsiteX4" fmla="*/ 607095 w 5457840"/>
              <a:gd name="connsiteY4" fmla="*/ 0 h 9217067"/>
              <a:gd name="connsiteX0" fmla="*/ 683082 w 5457840"/>
              <a:gd name="connsiteY0" fmla="*/ 0 h 9198757"/>
              <a:gd name="connsiteX1" fmla="*/ 5218185 w 5457840"/>
              <a:gd name="connsiteY1" fmla="*/ 236636 h 9198757"/>
              <a:gd name="connsiteX2" fmla="*/ 5457840 w 5457840"/>
              <a:gd name="connsiteY2" fmla="*/ 7331710 h 9198757"/>
              <a:gd name="connsiteX3" fmla="*/ 0 w 5457840"/>
              <a:gd name="connsiteY3" fmla="*/ 9198757 h 9198757"/>
              <a:gd name="connsiteX4" fmla="*/ 683082 w 5457840"/>
              <a:gd name="connsiteY4" fmla="*/ 0 h 9198757"/>
              <a:gd name="connsiteX0" fmla="*/ 629258 w 5457840"/>
              <a:gd name="connsiteY0" fmla="*/ 0 h 9147963"/>
              <a:gd name="connsiteX1" fmla="*/ 5218185 w 5457840"/>
              <a:gd name="connsiteY1" fmla="*/ 185842 h 9147963"/>
              <a:gd name="connsiteX2" fmla="*/ 5457840 w 5457840"/>
              <a:gd name="connsiteY2" fmla="*/ 7280916 h 9147963"/>
              <a:gd name="connsiteX3" fmla="*/ 0 w 5457840"/>
              <a:gd name="connsiteY3" fmla="*/ 9147963 h 9147963"/>
              <a:gd name="connsiteX4" fmla="*/ 629258 w 5457840"/>
              <a:gd name="connsiteY4" fmla="*/ 0 h 9147963"/>
              <a:gd name="connsiteX0" fmla="*/ 610536 w 5457840"/>
              <a:gd name="connsiteY0" fmla="*/ 0 h 9196832"/>
              <a:gd name="connsiteX1" fmla="*/ 5218185 w 5457840"/>
              <a:gd name="connsiteY1" fmla="*/ 234711 h 9196832"/>
              <a:gd name="connsiteX2" fmla="*/ 5457840 w 5457840"/>
              <a:gd name="connsiteY2" fmla="*/ 7329785 h 9196832"/>
              <a:gd name="connsiteX3" fmla="*/ 0 w 5457840"/>
              <a:gd name="connsiteY3" fmla="*/ 9196832 h 9196832"/>
              <a:gd name="connsiteX4" fmla="*/ 610536 w 5457840"/>
              <a:gd name="connsiteY4" fmla="*/ 0 h 9196832"/>
              <a:gd name="connsiteX0" fmla="*/ 610536 w 5457840"/>
              <a:gd name="connsiteY0" fmla="*/ 0 h 9196832"/>
              <a:gd name="connsiteX1" fmla="*/ 5369335 w 5457840"/>
              <a:gd name="connsiteY1" fmla="*/ 21617 h 9196832"/>
              <a:gd name="connsiteX2" fmla="*/ 5457840 w 5457840"/>
              <a:gd name="connsiteY2" fmla="*/ 7329785 h 9196832"/>
              <a:gd name="connsiteX3" fmla="*/ 0 w 5457840"/>
              <a:gd name="connsiteY3" fmla="*/ 9196832 h 9196832"/>
              <a:gd name="connsiteX4" fmla="*/ 610536 w 5457840"/>
              <a:gd name="connsiteY4" fmla="*/ 0 h 9196832"/>
              <a:gd name="connsiteX0" fmla="*/ 610536 w 6138484"/>
              <a:gd name="connsiteY0" fmla="*/ 0 h 9196832"/>
              <a:gd name="connsiteX1" fmla="*/ 5369335 w 6138484"/>
              <a:gd name="connsiteY1" fmla="*/ 21617 h 9196832"/>
              <a:gd name="connsiteX2" fmla="*/ 6138484 w 6138484"/>
              <a:gd name="connsiteY2" fmla="*/ 7848738 h 9196832"/>
              <a:gd name="connsiteX3" fmla="*/ 0 w 6138484"/>
              <a:gd name="connsiteY3" fmla="*/ 9196832 h 9196832"/>
              <a:gd name="connsiteX4" fmla="*/ 610536 w 6138484"/>
              <a:gd name="connsiteY4" fmla="*/ 0 h 9196832"/>
              <a:gd name="connsiteX0" fmla="*/ 610536 w 5369335"/>
              <a:gd name="connsiteY0" fmla="*/ 0 h 9220099"/>
              <a:gd name="connsiteX1" fmla="*/ 5369335 w 5369335"/>
              <a:gd name="connsiteY1" fmla="*/ 21617 h 9220099"/>
              <a:gd name="connsiteX2" fmla="*/ 5165760 w 5369335"/>
              <a:gd name="connsiteY2" fmla="*/ 9220099 h 9220099"/>
              <a:gd name="connsiteX3" fmla="*/ 0 w 5369335"/>
              <a:gd name="connsiteY3" fmla="*/ 9196832 h 9220099"/>
              <a:gd name="connsiteX4" fmla="*/ 610536 w 5369335"/>
              <a:gd name="connsiteY4" fmla="*/ 0 h 9220099"/>
              <a:gd name="connsiteX0" fmla="*/ 610536 w 5519047"/>
              <a:gd name="connsiteY0" fmla="*/ 0 h 9470690"/>
              <a:gd name="connsiteX1" fmla="*/ 5369335 w 5519047"/>
              <a:gd name="connsiteY1" fmla="*/ 21617 h 9470690"/>
              <a:gd name="connsiteX2" fmla="*/ 5519047 w 5519047"/>
              <a:gd name="connsiteY2" fmla="*/ 9470690 h 9470690"/>
              <a:gd name="connsiteX3" fmla="*/ 0 w 5519047"/>
              <a:gd name="connsiteY3" fmla="*/ 9196832 h 9470690"/>
              <a:gd name="connsiteX4" fmla="*/ 610536 w 5519047"/>
              <a:gd name="connsiteY4" fmla="*/ 0 h 9470690"/>
              <a:gd name="connsiteX0" fmla="*/ 661199 w 5569710"/>
              <a:gd name="connsiteY0" fmla="*/ 0 h 9470690"/>
              <a:gd name="connsiteX1" fmla="*/ 5419998 w 5569710"/>
              <a:gd name="connsiteY1" fmla="*/ 21617 h 9470690"/>
              <a:gd name="connsiteX2" fmla="*/ 5569710 w 5569710"/>
              <a:gd name="connsiteY2" fmla="*/ 9470690 h 9470690"/>
              <a:gd name="connsiteX3" fmla="*/ 0 w 5569710"/>
              <a:gd name="connsiteY3" fmla="*/ 9101892 h 9470690"/>
              <a:gd name="connsiteX4" fmla="*/ 661199 w 5569710"/>
              <a:gd name="connsiteY4" fmla="*/ 0 h 9470690"/>
              <a:gd name="connsiteX0" fmla="*/ 661199 w 5508443"/>
              <a:gd name="connsiteY0" fmla="*/ 0 h 9608051"/>
              <a:gd name="connsiteX1" fmla="*/ 5419998 w 5508443"/>
              <a:gd name="connsiteY1" fmla="*/ 21617 h 9608051"/>
              <a:gd name="connsiteX2" fmla="*/ 5508443 w 5508443"/>
              <a:gd name="connsiteY2" fmla="*/ 9608051 h 9608051"/>
              <a:gd name="connsiteX3" fmla="*/ 0 w 5508443"/>
              <a:gd name="connsiteY3" fmla="*/ 9101892 h 9608051"/>
              <a:gd name="connsiteX4" fmla="*/ 661199 w 5508443"/>
              <a:gd name="connsiteY4" fmla="*/ 0 h 9608051"/>
              <a:gd name="connsiteX0" fmla="*/ 661199 w 5614751"/>
              <a:gd name="connsiteY0" fmla="*/ 0 h 9611128"/>
              <a:gd name="connsiteX1" fmla="*/ 5419998 w 5614751"/>
              <a:gd name="connsiteY1" fmla="*/ 21617 h 9611128"/>
              <a:gd name="connsiteX2" fmla="*/ 5614751 w 5614751"/>
              <a:gd name="connsiteY2" fmla="*/ 9611128 h 9611128"/>
              <a:gd name="connsiteX3" fmla="*/ 0 w 5614751"/>
              <a:gd name="connsiteY3" fmla="*/ 9101892 h 9611128"/>
              <a:gd name="connsiteX4" fmla="*/ 661199 w 5614751"/>
              <a:gd name="connsiteY4" fmla="*/ 0 h 9611128"/>
              <a:gd name="connsiteX0" fmla="*/ 661199 w 5614751"/>
              <a:gd name="connsiteY0" fmla="*/ 80104 h 9691232"/>
              <a:gd name="connsiteX1" fmla="*/ 5375372 w 5614751"/>
              <a:gd name="connsiteY1" fmla="*/ 0 h 9691232"/>
              <a:gd name="connsiteX2" fmla="*/ 5614751 w 5614751"/>
              <a:gd name="connsiteY2" fmla="*/ 9691232 h 9691232"/>
              <a:gd name="connsiteX3" fmla="*/ 0 w 5614751"/>
              <a:gd name="connsiteY3" fmla="*/ 9181996 h 9691232"/>
              <a:gd name="connsiteX4" fmla="*/ 661199 w 5614751"/>
              <a:gd name="connsiteY4" fmla="*/ 80104 h 9691232"/>
              <a:gd name="connsiteX0" fmla="*/ 661199 w 5614751"/>
              <a:gd name="connsiteY0" fmla="*/ 71612 h 9682740"/>
              <a:gd name="connsiteX1" fmla="*/ 5486127 w 5614751"/>
              <a:gd name="connsiteY1" fmla="*/ 0 h 9682740"/>
              <a:gd name="connsiteX2" fmla="*/ 5614751 w 5614751"/>
              <a:gd name="connsiteY2" fmla="*/ 9682740 h 9682740"/>
              <a:gd name="connsiteX3" fmla="*/ 0 w 5614751"/>
              <a:gd name="connsiteY3" fmla="*/ 9173504 h 9682740"/>
              <a:gd name="connsiteX4" fmla="*/ 661199 w 5614751"/>
              <a:gd name="connsiteY4" fmla="*/ 71612 h 9682740"/>
              <a:gd name="connsiteX0" fmla="*/ 661199 w 5614751"/>
              <a:gd name="connsiteY0" fmla="*/ 71612 h 9682740"/>
              <a:gd name="connsiteX1" fmla="*/ 5486127 w 5614751"/>
              <a:gd name="connsiteY1" fmla="*/ 0 h 9682740"/>
              <a:gd name="connsiteX2" fmla="*/ 5614751 w 5614751"/>
              <a:gd name="connsiteY2" fmla="*/ 9682740 h 9682740"/>
              <a:gd name="connsiteX3" fmla="*/ 0 w 5614751"/>
              <a:gd name="connsiteY3" fmla="*/ 9173504 h 9682740"/>
              <a:gd name="connsiteX4" fmla="*/ 661199 w 5614751"/>
              <a:gd name="connsiteY4" fmla="*/ 71612 h 9682740"/>
              <a:gd name="connsiteX0" fmla="*/ 588025 w 5614751"/>
              <a:gd name="connsiteY0" fmla="*/ 43064 h 9682740"/>
              <a:gd name="connsiteX1" fmla="*/ 5486127 w 5614751"/>
              <a:gd name="connsiteY1" fmla="*/ 0 h 9682740"/>
              <a:gd name="connsiteX2" fmla="*/ 5614751 w 5614751"/>
              <a:gd name="connsiteY2" fmla="*/ 9682740 h 9682740"/>
              <a:gd name="connsiteX3" fmla="*/ 0 w 5614751"/>
              <a:gd name="connsiteY3" fmla="*/ 9173504 h 9682740"/>
              <a:gd name="connsiteX4" fmla="*/ 588025 w 5614751"/>
              <a:gd name="connsiteY4" fmla="*/ 43064 h 9682740"/>
              <a:gd name="connsiteX0" fmla="*/ 627594 w 5614751"/>
              <a:gd name="connsiteY0" fmla="*/ 0 h 9728387"/>
              <a:gd name="connsiteX1" fmla="*/ 5486127 w 5614751"/>
              <a:gd name="connsiteY1" fmla="*/ 45647 h 9728387"/>
              <a:gd name="connsiteX2" fmla="*/ 5614751 w 5614751"/>
              <a:gd name="connsiteY2" fmla="*/ 9728387 h 9728387"/>
              <a:gd name="connsiteX3" fmla="*/ 0 w 5614751"/>
              <a:gd name="connsiteY3" fmla="*/ 9219151 h 9728387"/>
              <a:gd name="connsiteX4" fmla="*/ 627594 w 5614751"/>
              <a:gd name="connsiteY4" fmla="*/ 0 h 9728387"/>
              <a:gd name="connsiteX0" fmla="*/ 671317 w 5658474"/>
              <a:gd name="connsiteY0" fmla="*/ 0 h 9728387"/>
              <a:gd name="connsiteX1" fmla="*/ 5529850 w 5658474"/>
              <a:gd name="connsiteY1" fmla="*/ 45647 h 9728387"/>
              <a:gd name="connsiteX2" fmla="*/ 5658474 w 5658474"/>
              <a:gd name="connsiteY2" fmla="*/ 9728387 h 9728387"/>
              <a:gd name="connsiteX3" fmla="*/ 0 w 5658474"/>
              <a:gd name="connsiteY3" fmla="*/ 9122743 h 9728387"/>
              <a:gd name="connsiteX4" fmla="*/ 671317 w 5658474"/>
              <a:gd name="connsiteY4" fmla="*/ 0 h 9728387"/>
              <a:gd name="connsiteX0" fmla="*/ 591168 w 5578325"/>
              <a:gd name="connsiteY0" fmla="*/ 0 h 9728387"/>
              <a:gd name="connsiteX1" fmla="*/ 5449701 w 5578325"/>
              <a:gd name="connsiteY1" fmla="*/ 45647 h 9728387"/>
              <a:gd name="connsiteX2" fmla="*/ 5578325 w 5578325"/>
              <a:gd name="connsiteY2" fmla="*/ 9728387 h 9728387"/>
              <a:gd name="connsiteX3" fmla="*/ 0 w 5578325"/>
              <a:gd name="connsiteY3" fmla="*/ 8983406 h 9728387"/>
              <a:gd name="connsiteX4" fmla="*/ 591168 w 5578325"/>
              <a:gd name="connsiteY4" fmla="*/ 0 h 9728387"/>
              <a:gd name="connsiteX0" fmla="*/ 622027 w 5609184"/>
              <a:gd name="connsiteY0" fmla="*/ 0 h 9728387"/>
              <a:gd name="connsiteX1" fmla="*/ 5480560 w 5609184"/>
              <a:gd name="connsiteY1" fmla="*/ 45647 h 9728387"/>
              <a:gd name="connsiteX2" fmla="*/ 5609184 w 5609184"/>
              <a:gd name="connsiteY2" fmla="*/ 9728387 h 9728387"/>
              <a:gd name="connsiteX3" fmla="*/ 0 w 5609184"/>
              <a:gd name="connsiteY3" fmla="*/ 9026912 h 9728387"/>
              <a:gd name="connsiteX4" fmla="*/ 622027 w 5609184"/>
              <a:gd name="connsiteY4" fmla="*/ 0 h 9728387"/>
              <a:gd name="connsiteX0" fmla="*/ 612993 w 5600150"/>
              <a:gd name="connsiteY0" fmla="*/ 0 h 9728387"/>
              <a:gd name="connsiteX1" fmla="*/ 5471526 w 5600150"/>
              <a:gd name="connsiteY1" fmla="*/ 45647 h 9728387"/>
              <a:gd name="connsiteX2" fmla="*/ 5600150 w 5600150"/>
              <a:gd name="connsiteY2" fmla="*/ 9728387 h 9728387"/>
              <a:gd name="connsiteX3" fmla="*/ 0 w 5600150"/>
              <a:gd name="connsiteY3" fmla="*/ 9080031 h 9728387"/>
              <a:gd name="connsiteX4" fmla="*/ 612993 w 5600150"/>
              <a:gd name="connsiteY4" fmla="*/ 0 h 9728387"/>
              <a:gd name="connsiteX0" fmla="*/ 645659 w 5632816"/>
              <a:gd name="connsiteY0" fmla="*/ 0 h 9728387"/>
              <a:gd name="connsiteX1" fmla="*/ 5504192 w 5632816"/>
              <a:gd name="connsiteY1" fmla="*/ 45647 h 9728387"/>
              <a:gd name="connsiteX2" fmla="*/ 5632816 w 5632816"/>
              <a:gd name="connsiteY2" fmla="*/ 9728387 h 9728387"/>
              <a:gd name="connsiteX3" fmla="*/ 0 w 5632816"/>
              <a:gd name="connsiteY3" fmla="*/ 9112914 h 9728387"/>
              <a:gd name="connsiteX4" fmla="*/ 645659 w 5632816"/>
              <a:gd name="connsiteY4" fmla="*/ 0 h 9728387"/>
              <a:gd name="connsiteX0" fmla="*/ 645659 w 5593563"/>
              <a:gd name="connsiteY0" fmla="*/ 0 h 9700544"/>
              <a:gd name="connsiteX1" fmla="*/ 5504192 w 5593563"/>
              <a:gd name="connsiteY1" fmla="*/ 45647 h 9700544"/>
              <a:gd name="connsiteX2" fmla="*/ 5593563 w 5593563"/>
              <a:gd name="connsiteY2" fmla="*/ 9700544 h 9700544"/>
              <a:gd name="connsiteX3" fmla="*/ 0 w 5593563"/>
              <a:gd name="connsiteY3" fmla="*/ 9112914 h 9700544"/>
              <a:gd name="connsiteX4" fmla="*/ 645659 w 5593563"/>
              <a:gd name="connsiteY4" fmla="*/ 0 h 9700544"/>
              <a:gd name="connsiteX0" fmla="*/ 645659 w 5532170"/>
              <a:gd name="connsiteY0" fmla="*/ 0 h 9745504"/>
              <a:gd name="connsiteX1" fmla="*/ 5504192 w 5532170"/>
              <a:gd name="connsiteY1" fmla="*/ 45647 h 9745504"/>
              <a:gd name="connsiteX2" fmla="*/ 5532170 w 5532170"/>
              <a:gd name="connsiteY2" fmla="*/ 9745504 h 9745504"/>
              <a:gd name="connsiteX3" fmla="*/ 0 w 5532170"/>
              <a:gd name="connsiteY3" fmla="*/ 9112914 h 9745504"/>
              <a:gd name="connsiteX4" fmla="*/ 645659 w 5532170"/>
              <a:gd name="connsiteY4" fmla="*/ 0 h 9745504"/>
              <a:gd name="connsiteX0" fmla="*/ 645659 w 5599268"/>
              <a:gd name="connsiteY0" fmla="*/ 0 h 9734093"/>
              <a:gd name="connsiteX1" fmla="*/ 5504192 w 5599268"/>
              <a:gd name="connsiteY1" fmla="*/ 45647 h 9734093"/>
              <a:gd name="connsiteX2" fmla="*/ 5599268 w 5599268"/>
              <a:gd name="connsiteY2" fmla="*/ 9734093 h 9734093"/>
              <a:gd name="connsiteX3" fmla="*/ 0 w 5599268"/>
              <a:gd name="connsiteY3" fmla="*/ 9112914 h 9734093"/>
              <a:gd name="connsiteX4" fmla="*/ 645659 w 5599268"/>
              <a:gd name="connsiteY4" fmla="*/ 0 h 9734093"/>
              <a:gd name="connsiteX0" fmla="*/ 645659 w 5504192"/>
              <a:gd name="connsiteY0" fmla="*/ 0 h 9772139"/>
              <a:gd name="connsiteX1" fmla="*/ 5504192 w 5504192"/>
              <a:gd name="connsiteY1" fmla="*/ 45647 h 9772139"/>
              <a:gd name="connsiteX2" fmla="*/ 5499954 w 5504192"/>
              <a:gd name="connsiteY2" fmla="*/ 9772139 h 9772139"/>
              <a:gd name="connsiteX3" fmla="*/ 0 w 5504192"/>
              <a:gd name="connsiteY3" fmla="*/ 9112914 h 9772139"/>
              <a:gd name="connsiteX4" fmla="*/ 645659 w 5504192"/>
              <a:gd name="connsiteY4" fmla="*/ 0 h 9772139"/>
              <a:gd name="connsiteX0" fmla="*/ 645659 w 5579144"/>
              <a:gd name="connsiteY0" fmla="*/ 0 h 9864459"/>
              <a:gd name="connsiteX1" fmla="*/ 5504192 w 5579144"/>
              <a:gd name="connsiteY1" fmla="*/ 45647 h 9864459"/>
              <a:gd name="connsiteX2" fmla="*/ 5579125 w 5579144"/>
              <a:gd name="connsiteY2" fmla="*/ 9864459 h 9864459"/>
              <a:gd name="connsiteX3" fmla="*/ 0 w 5579144"/>
              <a:gd name="connsiteY3" fmla="*/ 9112914 h 9864459"/>
              <a:gd name="connsiteX4" fmla="*/ 645659 w 5579144"/>
              <a:gd name="connsiteY4" fmla="*/ 0 h 9864459"/>
              <a:gd name="connsiteX0" fmla="*/ 645659 w 5664460"/>
              <a:gd name="connsiteY0" fmla="*/ 0 h 9744164"/>
              <a:gd name="connsiteX1" fmla="*/ 5504192 w 5664460"/>
              <a:gd name="connsiteY1" fmla="*/ 45647 h 9744164"/>
              <a:gd name="connsiteX2" fmla="*/ 5664451 w 5664460"/>
              <a:gd name="connsiteY2" fmla="*/ 9744164 h 9744164"/>
              <a:gd name="connsiteX3" fmla="*/ 0 w 5664460"/>
              <a:gd name="connsiteY3" fmla="*/ 9112914 h 9744164"/>
              <a:gd name="connsiteX4" fmla="*/ 645659 w 5664460"/>
              <a:gd name="connsiteY4" fmla="*/ 0 h 9744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64460" h="9744164">
                <a:moveTo>
                  <a:pt x="645659" y="0"/>
                </a:moveTo>
                <a:lnTo>
                  <a:pt x="5504192" y="45647"/>
                </a:lnTo>
                <a:cubicBezTo>
                  <a:pt x="5502779" y="3287811"/>
                  <a:pt x="5665864" y="6502000"/>
                  <a:pt x="5664451" y="9744164"/>
                </a:cubicBezTo>
                <a:lnTo>
                  <a:pt x="0" y="9112914"/>
                </a:lnTo>
                <a:lnTo>
                  <a:pt x="645659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effectLst>
            <a:innerShdw blurRad="114300">
              <a:prstClr val="black"/>
            </a:innerShdw>
          </a:effectLst>
          <a:scene3d>
            <a:camera prst="isometricRightUp">
              <a:rot lat="3001020" lon="18859331" rev="267702"/>
            </a:camera>
            <a:lightRig rig="threePt" dir="t"/>
          </a:scene3d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01238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 userDrawn="1"/>
        </p:nvSpPr>
        <p:spPr>
          <a:xfrm>
            <a:off x="0" y="1"/>
            <a:ext cx="12192000" cy="3621021"/>
          </a:xfrm>
          <a:prstGeom prst="rect">
            <a:avLst/>
          </a:prstGeom>
          <a:pattFill prst="pct5">
            <a:fgClr>
              <a:schemeClr val="accent2">
                <a:lumMod val="75000"/>
              </a:schemeClr>
            </a:fgClr>
            <a:bgClr>
              <a:schemeClr val="accent1">
                <a:lumMod val="75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hangingPunct="1"/>
            <a:endParaRPr lang="id-ID" sz="1800" kern="1200">
              <a:solidFill>
                <a:prstClr val="white"/>
              </a:solidFill>
            </a:endParaRPr>
          </a:p>
        </p:txBody>
      </p:sp>
      <p:sp>
        <p:nvSpPr>
          <p:cNvPr id="22" name="Freeform 5"/>
          <p:cNvSpPr>
            <a:spLocks/>
          </p:cNvSpPr>
          <p:nvPr userDrawn="1"/>
        </p:nvSpPr>
        <p:spPr bwMode="auto">
          <a:xfrm flipH="1">
            <a:off x="9930141" y="-637092"/>
            <a:ext cx="2711791" cy="2711789"/>
          </a:xfrm>
          <a:custGeom>
            <a:avLst/>
            <a:gdLst>
              <a:gd name="T0" fmla="*/ 731 w 1169"/>
              <a:gd name="T1" fmla="*/ 0 h 1169"/>
              <a:gd name="T2" fmla="*/ 0 w 1169"/>
              <a:gd name="T3" fmla="*/ 0 h 1169"/>
              <a:gd name="T4" fmla="*/ 0 w 1169"/>
              <a:gd name="T5" fmla="*/ 731 h 1169"/>
              <a:gd name="T6" fmla="*/ 439 w 1169"/>
              <a:gd name="T7" fmla="*/ 1169 h 1169"/>
              <a:gd name="T8" fmla="*/ 1169 w 1169"/>
              <a:gd name="T9" fmla="*/ 1169 h 1169"/>
              <a:gd name="T10" fmla="*/ 1169 w 1169"/>
              <a:gd name="T11" fmla="*/ 439 h 1169"/>
              <a:gd name="T12" fmla="*/ 731 w 1169"/>
              <a:gd name="T13" fmla="*/ 0 h 1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69" h="1169">
                <a:moveTo>
                  <a:pt x="731" y="0"/>
                </a:moveTo>
                <a:cubicBezTo>
                  <a:pt x="0" y="0"/>
                  <a:pt x="0" y="0"/>
                  <a:pt x="0" y="0"/>
                </a:cubicBezTo>
                <a:cubicBezTo>
                  <a:pt x="0" y="731"/>
                  <a:pt x="0" y="731"/>
                  <a:pt x="0" y="731"/>
                </a:cubicBezTo>
                <a:cubicBezTo>
                  <a:pt x="0" y="973"/>
                  <a:pt x="196" y="1169"/>
                  <a:pt x="439" y="1169"/>
                </a:cubicBezTo>
                <a:cubicBezTo>
                  <a:pt x="1169" y="1169"/>
                  <a:pt x="1169" y="1169"/>
                  <a:pt x="1169" y="1169"/>
                </a:cubicBezTo>
                <a:cubicBezTo>
                  <a:pt x="1169" y="439"/>
                  <a:pt x="1169" y="439"/>
                  <a:pt x="1169" y="439"/>
                </a:cubicBezTo>
                <a:cubicBezTo>
                  <a:pt x="1169" y="196"/>
                  <a:pt x="973" y="0"/>
                  <a:pt x="731" y="0"/>
                </a:cubicBezTo>
                <a:close/>
              </a:path>
            </a:pathLst>
          </a:custGeom>
          <a:solidFill>
            <a:schemeClr val="bg1">
              <a:lumMod val="85000"/>
              <a:alpha val="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hangingPunct="1"/>
            <a:endParaRPr lang="id-ID" sz="1800" kern="1200">
              <a:solidFill>
                <a:prstClr val="black"/>
              </a:solidFill>
            </a:endParaRPr>
          </a:p>
        </p:txBody>
      </p:sp>
      <p:sp>
        <p:nvSpPr>
          <p:cNvPr id="23" name="Freeform 5"/>
          <p:cNvSpPr>
            <a:spLocks/>
          </p:cNvSpPr>
          <p:nvPr userDrawn="1"/>
        </p:nvSpPr>
        <p:spPr bwMode="auto">
          <a:xfrm flipH="1">
            <a:off x="8535301" y="921256"/>
            <a:ext cx="982576" cy="982576"/>
          </a:xfrm>
          <a:custGeom>
            <a:avLst/>
            <a:gdLst>
              <a:gd name="T0" fmla="*/ 731 w 1169"/>
              <a:gd name="T1" fmla="*/ 0 h 1169"/>
              <a:gd name="T2" fmla="*/ 0 w 1169"/>
              <a:gd name="T3" fmla="*/ 0 h 1169"/>
              <a:gd name="T4" fmla="*/ 0 w 1169"/>
              <a:gd name="T5" fmla="*/ 731 h 1169"/>
              <a:gd name="T6" fmla="*/ 439 w 1169"/>
              <a:gd name="T7" fmla="*/ 1169 h 1169"/>
              <a:gd name="T8" fmla="*/ 1169 w 1169"/>
              <a:gd name="T9" fmla="*/ 1169 h 1169"/>
              <a:gd name="T10" fmla="*/ 1169 w 1169"/>
              <a:gd name="T11" fmla="*/ 439 h 1169"/>
              <a:gd name="T12" fmla="*/ 731 w 1169"/>
              <a:gd name="T13" fmla="*/ 0 h 1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69" h="1169">
                <a:moveTo>
                  <a:pt x="731" y="0"/>
                </a:moveTo>
                <a:cubicBezTo>
                  <a:pt x="0" y="0"/>
                  <a:pt x="0" y="0"/>
                  <a:pt x="0" y="0"/>
                </a:cubicBezTo>
                <a:cubicBezTo>
                  <a:pt x="0" y="731"/>
                  <a:pt x="0" y="731"/>
                  <a:pt x="0" y="731"/>
                </a:cubicBezTo>
                <a:cubicBezTo>
                  <a:pt x="0" y="973"/>
                  <a:pt x="196" y="1169"/>
                  <a:pt x="439" y="1169"/>
                </a:cubicBezTo>
                <a:cubicBezTo>
                  <a:pt x="1169" y="1169"/>
                  <a:pt x="1169" y="1169"/>
                  <a:pt x="1169" y="1169"/>
                </a:cubicBezTo>
                <a:cubicBezTo>
                  <a:pt x="1169" y="439"/>
                  <a:pt x="1169" y="439"/>
                  <a:pt x="1169" y="439"/>
                </a:cubicBezTo>
                <a:cubicBezTo>
                  <a:pt x="1169" y="196"/>
                  <a:pt x="973" y="0"/>
                  <a:pt x="731" y="0"/>
                </a:cubicBezTo>
                <a:close/>
              </a:path>
            </a:pathLst>
          </a:custGeom>
          <a:solidFill>
            <a:schemeClr val="bg1">
              <a:lumMod val="85000"/>
              <a:alpha val="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hangingPunct="1"/>
            <a:endParaRPr lang="id-ID" sz="1800" kern="1200">
              <a:solidFill>
                <a:prstClr val="black"/>
              </a:solidFill>
            </a:endParaRPr>
          </a:p>
        </p:txBody>
      </p:sp>
      <p:sp>
        <p:nvSpPr>
          <p:cNvPr id="24" name="Freeform 5"/>
          <p:cNvSpPr>
            <a:spLocks/>
          </p:cNvSpPr>
          <p:nvPr userDrawn="1"/>
        </p:nvSpPr>
        <p:spPr bwMode="auto">
          <a:xfrm flipH="1">
            <a:off x="8690348" y="-296897"/>
            <a:ext cx="672480" cy="672480"/>
          </a:xfrm>
          <a:custGeom>
            <a:avLst/>
            <a:gdLst>
              <a:gd name="T0" fmla="*/ 731 w 1169"/>
              <a:gd name="T1" fmla="*/ 0 h 1169"/>
              <a:gd name="T2" fmla="*/ 0 w 1169"/>
              <a:gd name="T3" fmla="*/ 0 h 1169"/>
              <a:gd name="T4" fmla="*/ 0 w 1169"/>
              <a:gd name="T5" fmla="*/ 731 h 1169"/>
              <a:gd name="T6" fmla="*/ 439 w 1169"/>
              <a:gd name="T7" fmla="*/ 1169 h 1169"/>
              <a:gd name="T8" fmla="*/ 1169 w 1169"/>
              <a:gd name="T9" fmla="*/ 1169 h 1169"/>
              <a:gd name="T10" fmla="*/ 1169 w 1169"/>
              <a:gd name="T11" fmla="*/ 439 h 1169"/>
              <a:gd name="T12" fmla="*/ 731 w 1169"/>
              <a:gd name="T13" fmla="*/ 0 h 1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69" h="1169">
                <a:moveTo>
                  <a:pt x="731" y="0"/>
                </a:moveTo>
                <a:cubicBezTo>
                  <a:pt x="0" y="0"/>
                  <a:pt x="0" y="0"/>
                  <a:pt x="0" y="0"/>
                </a:cubicBezTo>
                <a:cubicBezTo>
                  <a:pt x="0" y="731"/>
                  <a:pt x="0" y="731"/>
                  <a:pt x="0" y="731"/>
                </a:cubicBezTo>
                <a:cubicBezTo>
                  <a:pt x="0" y="973"/>
                  <a:pt x="196" y="1169"/>
                  <a:pt x="439" y="1169"/>
                </a:cubicBezTo>
                <a:cubicBezTo>
                  <a:pt x="1169" y="1169"/>
                  <a:pt x="1169" y="1169"/>
                  <a:pt x="1169" y="1169"/>
                </a:cubicBezTo>
                <a:cubicBezTo>
                  <a:pt x="1169" y="439"/>
                  <a:pt x="1169" y="439"/>
                  <a:pt x="1169" y="439"/>
                </a:cubicBezTo>
                <a:cubicBezTo>
                  <a:pt x="1169" y="196"/>
                  <a:pt x="973" y="0"/>
                  <a:pt x="731" y="0"/>
                </a:cubicBezTo>
                <a:close/>
              </a:path>
            </a:pathLst>
          </a:custGeom>
          <a:solidFill>
            <a:schemeClr val="bg1">
              <a:lumMod val="85000"/>
              <a:alpha val="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hangingPunct="1"/>
            <a:endParaRPr lang="id-ID" sz="1800" kern="1200">
              <a:solidFill>
                <a:prstClr val="black"/>
              </a:solidFill>
            </a:endParaRPr>
          </a:p>
        </p:txBody>
      </p:sp>
      <p:sp>
        <p:nvSpPr>
          <p:cNvPr id="25" name="Freeform 5"/>
          <p:cNvSpPr>
            <a:spLocks/>
          </p:cNvSpPr>
          <p:nvPr userDrawn="1"/>
        </p:nvSpPr>
        <p:spPr bwMode="auto">
          <a:xfrm flipH="1">
            <a:off x="6892777" y="1381251"/>
            <a:ext cx="1081311" cy="1081311"/>
          </a:xfrm>
          <a:custGeom>
            <a:avLst/>
            <a:gdLst>
              <a:gd name="T0" fmla="*/ 731 w 1169"/>
              <a:gd name="T1" fmla="*/ 0 h 1169"/>
              <a:gd name="T2" fmla="*/ 0 w 1169"/>
              <a:gd name="T3" fmla="*/ 0 h 1169"/>
              <a:gd name="T4" fmla="*/ 0 w 1169"/>
              <a:gd name="T5" fmla="*/ 731 h 1169"/>
              <a:gd name="T6" fmla="*/ 439 w 1169"/>
              <a:gd name="T7" fmla="*/ 1169 h 1169"/>
              <a:gd name="T8" fmla="*/ 1169 w 1169"/>
              <a:gd name="T9" fmla="*/ 1169 h 1169"/>
              <a:gd name="T10" fmla="*/ 1169 w 1169"/>
              <a:gd name="T11" fmla="*/ 439 h 1169"/>
              <a:gd name="T12" fmla="*/ 731 w 1169"/>
              <a:gd name="T13" fmla="*/ 0 h 1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69" h="1169">
                <a:moveTo>
                  <a:pt x="731" y="0"/>
                </a:moveTo>
                <a:cubicBezTo>
                  <a:pt x="0" y="0"/>
                  <a:pt x="0" y="0"/>
                  <a:pt x="0" y="0"/>
                </a:cubicBezTo>
                <a:cubicBezTo>
                  <a:pt x="0" y="731"/>
                  <a:pt x="0" y="731"/>
                  <a:pt x="0" y="731"/>
                </a:cubicBezTo>
                <a:cubicBezTo>
                  <a:pt x="0" y="973"/>
                  <a:pt x="196" y="1169"/>
                  <a:pt x="439" y="1169"/>
                </a:cubicBezTo>
                <a:cubicBezTo>
                  <a:pt x="1169" y="1169"/>
                  <a:pt x="1169" y="1169"/>
                  <a:pt x="1169" y="1169"/>
                </a:cubicBezTo>
                <a:cubicBezTo>
                  <a:pt x="1169" y="439"/>
                  <a:pt x="1169" y="439"/>
                  <a:pt x="1169" y="439"/>
                </a:cubicBezTo>
                <a:cubicBezTo>
                  <a:pt x="1169" y="196"/>
                  <a:pt x="973" y="0"/>
                  <a:pt x="731" y="0"/>
                </a:cubicBezTo>
                <a:close/>
              </a:path>
            </a:pathLst>
          </a:custGeom>
          <a:solidFill>
            <a:schemeClr val="bg1">
              <a:lumMod val="85000"/>
              <a:alpha val="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hangingPunct="1"/>
            <a:endParaRPr lang="id-ID" sz="1800" kern="1200">
              <a:solidFill>
                <a:prstClr val="black"/>
              </a:solidFill>
            </a:endParaRPr>
          </a:p>
        </p:txBody>
      </p:sp>
      <p:sp>
        <p:nvSpPr>
          <p:cNvPr id="26" name="Freeform 5"/>
          <p:cNvSpPr>
            <a:spLocks/>
          </p:cNvSpPr>
          <p:nvPr userDrawn="1"/>
        </p:nvSpPr>
        <p:spPr bwMode="auto">
          <a:xfrm flipH="1">
            <a:off x="7490451" y="215697"/>
            <a:ext cx="521440" cy="521440"/>
          </a:xfrm>
          <a:custGeom>
            <a:avLst/>
            <a:gdLst>
              <a:gd name="T0" fmla="*/ 731 w 1169"/>
              <a:gd name="T1" fmla="*/ 0 h 1169"/>
              <a:gd name="T2" fmla="*/ 0 w 1169"/>
              <a:gd name="T3" fmla="*/ 0 h 1169"/>
              <a:gd name="T4" fmla="*/ 0 w 1169"/>
              <a:gd name="T5" fmla="*/ 731 h 1169"/>
              <a:gd name="T6" fmla="*/ 439 w 1169"/>
              <a:gd name="T7" fmla="*/ 1169 h 1169"/>
              <a:gd name="T8" fmla="*/ 1169 w 1169"/>
              <a:gd name="T9" fmla="*/ 1169 h 1169"/>
              <a:gd name="T10" fmla="*/ 1169 w 1169"/>
              <a:gd name="T11" fmla="*/ 439 h 1169"/>
              <a:gd name="T12" fmla="*/ 731 w 1169"/>
              <a:gd name="T13" fmla="*/ 0 h 1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69" h="1169">
                <a:moveTo>
                  <a:pt x="731" y="0"/>
                </a:moveTo>
                <a:cubicBezTo>
                  <a:pt x="0" y="0"/>
                  <a:pt x="0" y="0"/>
                  <a:pt x="0" y="0"/>
                </a:cubicBezTo>
                <a:cubicBezTo>
                  <a:pt x="0" y="731"/>
                  <a:pt x="0" y="731"/>
                  <a:pt x="0" y="731"/>
                </a:cubicBezTo>
                <a:cubicBezTo>
                  <a:pt x="0" y="973"/>
                  <a:pt x="196" y="1169"/>
                  <a:pt x="439" y="1169"/>
                </a:cubicBezTo>
                <a:cubicBezTo>
                  <a:pt x="1169" y="1169"/>
                  <a:pt x="1169" y="1169"/>
                  <a:pt x="1169" y="1169"/>
                </a:cubicBezTo>
                <a:cubicBezTo>
                  <a:pt x="1169" y="439"/>
                  <a:pt x="1169" y="439"/>
                  <a:pt x="1169" y="439"/>
                </a:cubicBezTo>
                <a:cubicBezTo>
                  <a:pt x="1169" y="196"/>
                  <a:pt x="973" y="0"/>
                  <a:pt x="731" y="0"/>
                </a:cubicBezTo>
                <a:close/>
              </a:path>
            </a:pathLst>
          </a:custGeom>
          <a:solidFill>
            <a:schemeClr val="bg1">
              <a:lumMod val="85000"/>
              <a:alpha val="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hangingPunct="1"/>
            <a:endParaRPr lang="id-ID" sz="1800" kern="1200">
              <a:solidFill>
                <a:prstClr val="black"/>
              </a:solidFill>
            </a:endParaRP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 flipH="1">
            <a:off x="9305256" y="2655845"/>
            <a:ext cx="1337469" cy="1337469"/>
          </a:xfrm>
          <a:custGeom>
            <a:avLst/>
            <a:gdLst>
              <a:gd name="T0" fmla="*/ 731 w 1169"/>
              <a:gd name="T1" fmla="*/ 0 h 1169"/>
              <a:gd name="T2" fmla="*/ 0 w 1169"/>
              <a:gd name="T3" fmla="*/ 0 h 1169"/>
              <a:gd name="T4" fmla="*/ 0 w 1169"/>
              <a:gd name="T5" fmla="*/ 731 h 1169"/>
              <a:gd name="T6" fmla="*/ 439 w 1169"/>
              <a:gd name="T7" fmla="*/ 1169 h 1169"/>
              <a:gd name="T8" fmla="*/ 1169 w 1169"/>
              <a:gd name="T9" fmla="*/ 1169 h 1169"/>
              <a:gd name="T10" fmla="*/ 1169 w 1169"/>
              <a:gd name="T11" fmla="*/ 439 h 1169"/>
              <a:gd name="T12" fmla="*/ 731 w 1169"/>
              <a:gd name="T13" fmla="*/ 0 h 1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69" h="1169">
                <a:moveTo>
                  <a:pt x="731" y="0"/>
                </a:moveTo>
                <a:cubicBezTo>
                  <a:pt x="0" y="0"/>
                  <a:pt x="0" y="0"/>
                  <a:pt x="0" y="0"/>
                </a:cubicBezTo>
                <a:cubicBezTo>
                  <a:pt x="0" y="731"/>
                  <a:pt x="0" y="731"/>
                  <a:pt x="0" y="731"/>
                </a:cubicBezTo>
                <a:cubicBezTo>
                  <a:pt x="0" y="973"/>
                  <a:pt x="196" y="1169"/>
                  <a:pt x="439" y="1169"/>
                </a:cubicBezTo>
                <a:cubicBezTo>
                  <a:pt x="1169" y="1169"/>
                  <a:pt x="1169" y="1169"/>
                  <a:pt x="1169" y="1169"/>
                </a:cubicBezTo>
                <a:cubicBezTo>
                  <a:pt x="1169" y="439"/>
                  <a:pt x="1169" y="439"/>
                  <a:pt x="1169" y="439"/>
                </a:cubicBezTo>
                <a:cubicBezTo>
                  <a:pt x="1169" y="196"/>
                  <a:pt x="973" y="0"/>
                  <a:pt x="731" y="0"/>
                </a:cubicBezTo>
                <a:close/>
              </a:path>
            </a:pathLst>
          </a:custGeom>
          <a:solidFill>
            <a:schemeClr val="bg1">
              <a:lumMod val="85000"/>
              <a:alpha val="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hangingPunct="1"/>
            <a:endParaRPr lang="id-ID" sz="1800" kern="1200">
              <a:solidFill>
                <a:prstClr val="black"/>
              </a:solidFill>
            </a:endParaRPr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 flipH="1">
            <a:off x="11073361" y="2461388"/>
            <a:ext cx="672480" cy="672480"/>
          </a:xfrm>
          <a:custGeom>
            <a:avLst/>
            <a:gdLst>
              <a:gd name="T0" fmla="*/ 731 w 1169"/>
              <a:gd name="T1" fmla="*/ 0 h 1169"/>
              <a:gd name="T2" fmla="*/ 0 w 1169"/>
              <a:gd name="T3" fmla="*/ 0 h 1169"/>
              <a:gd name="T4" fmla="*/ 0 w 1169"/>
              <a:gd name="T5" fmla="*/ 731 h 1169"/>
              <a:gd name="T6" fmla="*/ 439 w 1169"/>
              <a:gd name="T7" fmla="*/ 1169 h 1169"/>
              <a:gd name="T8" fmla="*/ 1169 w 1169"/>
              <a:gd name="T9" fmla="*/ 1169 h 1169"/>
              <a:gd name="T10" fmla="*/ 1169 w 1169"/>
              <a:gd name="T11" fmla="*/ 439 h 1169"/>
              <a:gd name="T12" fmla="*/ 731 w 1169"/>
              <a:gd name="T13" fmla="*/ 0 h 1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69" h="1169">
                <a:moveTo>
                  <a:pt x="731" y="0"/>
                </a:moveTo>
                <a:cubicBezTo>
                  <a:pt x="0" y="0"/>
                  <a:pt x="0" y="0"/>
                  <a:pt x="0" y="0"/>
                </a:cubicBezTo>
                <a:cubicBezTo>
                  <a:pt x="0" y="731"/>
                  <a:pt x="0" y="731"/>
                  <a:pt x="0" y="731"/>
                </a:cubicBezTo>
                <a:cubicBezTo>
                  <a:pt x="0" y="973"/>
                  <a:pt x="196" y="1169"/>
                  <a:pt x="439" y="1169"/>
                </a:cubicBezTo>
                <a:cubicBezTo>
                  <a:pt x="1169" y="1169"/>
                  <a:pt x="1169" y="1169"/>
                  <a:pt x="1169" y="1169"/>
                </a:cubicBezTo>
                <a:cubicBezTo>
                  <a:pt x="1169" y="439"/>
                  <a:pt x="1169" y="439"/>
                  <a:pt x="1169" y="439"/>
                </a:cubicBezTo>
                <a:cubicBezTo>
                  <a:pt x="1169" y="196"/>
                  <a:pt x="973" y="0"/>
                  <a:pt x="731" y="0"/>
                </a:cubicBezTo>
                <a:close/>
              </a:path>
            </a:pathLst>
          </a:custGeom>
          <a:solidFill>
            <a:schemeClr val="bg1">
              <a:lumMod val="85000"/>
              <a:alpha val="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hangingPunct="1"/>
            <a:endParaRPr lang="id-ID" sz="1800" kern="1200">
              <a:solidFill>
                <a:prstClr val="black"/>
              </a:solidFill>
            </a:endParaRPr>
          </a:p>
        </p:txBody>
      </p:sp>
      <p:sp>
        <p:nvSpPr>
          <p:cNvPr id="30" name="Freeform 5"/>
          <p:cNvSpPr>
            <a:spLocks/>
          </p:cNvSpPr>
          <p:nvPr userDrawn="1"/>
        </p:nvSpPr>
        <p:spPr bwMode="auto">
          <a:xfrm flipH="1">
            <a:off x="8352862" y="2453991"/>
            <a:ext cx="521761" cy="521761"/>
          </a:xfrm>
          <a:custGeom>
            <a:avLst/>
            <a:gdLst>
              <a:gd name="T0" fmla="*/ 731 w 1169"/>
              <a:gd name="T1" fmla="*/ 0 h 1169"/>
              <a:gd name="T2" fmla="*/ 0 w 1169"/>
              <a:gd name="T3" fmla="*/ 0 h 1169"/>
              <a:gd name="T4" fmla="*/ 0 w 1169"/>
              <a:gd name="T5" fmla="*/ 731 h 1169"/>
              <a:gd name="T6" fmla="*/ 439 w 1169"/>
              <a:gd name="T7" fmla="*/ 1169 h 1169"/>
              <a:gd name="T8" fmla="*/ 1169 w 1169"/>
              <a:gd name="T9" fmla="*/ 1169 h 1169"/>
              <a:gd name="T10" fmla="*/ 1169 w 1169"/>
              <a:gd name="T11" fmla="*/ 439 h 1169"/>
              <a:gd name="T12" fmla="*/ 731 w 1169"/>
              <a:gd name="T13" fmla="*/ 0 h 1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69" h="1169">
                <a:moveTo>
                  <a:pt x="731" y="0"/>
                </a:moveTo>
                <a:cubicBezTo>
                  <a:pt x="0" y="0"/>
                  <a:pt x="0" y="0"/>
                  <a:pt x="0" y="0"/>
                </a:cubicBezTo>
                <a:cubicBezTo>
                  <a:pt x="0" y="731"/>
                  <a:pt x="0" y="731"/>
                  <a:pt x="0" y="731"/>
                </a:cubicBezTo>
                <a:cubicBezTo>
                  <a:pt x="0" y="973"/>
                  <a:pt x="196" y="1169"/>
                  <a:pt x="439" y="1169"/>
                </a:cubicBezTo>
                <a:cubicBezTo>
                  <a:pt x="1169" y="1169"/>
                  <a:pt x="1169" y="1169"/>
                  <a:pt x="1169" y="1169"/>
                </a:cubicBezTo>
                <a:cubicBezTo>
                  <a:pt x="1169" y="439"/>
                  <a:pt x="1169" y="439"/>
                  <a:pt x="1169" y="439"/>
                </a:cubicBezTo>
                <a:cubicBezTo>
                  <a:pt x="1169" y="196"/>
                  <a:pt x="973" y="0"/>
                  <a:pt x="731" y="0"/>
                </a:cubicBezTo>
                <a:close/>
              </a:path>
            </a:pathLst>
          </a:custGeom>
          <a:solidFill>
            <a:schemeClr val="bg1">
              <a:lumMod val="85000"/>
              <a:alpha val="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hangingPunct="1"/>
            <a:endParaRPr lang="id-ID" sz="1800" kern="1200">
              <a:solidFill>
                <a:prstClr val="black"/>
              </a:solidFill>
            </a:endParaRPr>
          </a:p>
        </p:txBody>
      </p:sp>
      <p:sp>
        <p:nvSpPr>
          <p:cNvPr id="32" name="Freeform 5"/>
          <p:cNvSpPr>
            <a:spLocks/>
          </p:cNvSpPr>
          <p:nvPr userDrawn="1"/>
        </p:nvSpPr>
        <p:spPr bwMode="auto">
          <a:xfrm flipH="1">
            <a:off x="12086293" y="2172542"/>
            <a:ext cx="385460" cy="385460"/>
          </a:xfrm>
          <a:custGeom>
            <a:avLst/>
            <a:gdLst>
              <a:gd name="T0" fmla="*/ 731 w 1169"/>
              <a:gd name="T1" fmla="*/ 0 h 1169"/>
              <a:gd name="T2" fmla="*/ 0 w 1169"/>
              <a:gd name="T3" fmla="*/ 0 h 1169"/>
              <a:gd name="T4" fmla="*/ 0 w 1169"/>
              <a:gd name="T5" fmla="*/ 731 h 1169"/>
              <a:gd name="T6" fmla="*/ 439 w 1169"/>
              <a:gd name="T7" fmla="*/ 1169 h 1169"/>
              <a:gd name="T8" fmla="*/ 1169 w 1169"/>
              <a:gd name="T9" fmla="*/ 1169 h 1169"/>
              <a:gd name="T10" fmla="*/ 1169 w 1169"/>
              <a:gd name="T11" fmla="*/ 439 h 1169"/>
              <a:gd name="T12" fmla="*/ 731 w 1169"/>
              <a:gd name="T13" fmla="*/ 0 h 1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69" h="1169">
                <a:moveTo>
                  <a:pt x="731" y="0"/>
                </a:moveTo>
                <a:cubicBezTo>
                  <a:pt x="0" y="0"/>
                  <a:pt x="0" y="0"/>
                  <a:pt x="0" y="0"/>
                </a:cubicBezTo>
                <a:cubicBezTo>
                  <a:pt x="0" y="731"/>
                  <a:pt x="0" y="731"/>
                  <a:pt x="0" y="731"/>
                </a:cubicBezTo>
                <a:cubicBezTo>
                  <a:pt x="0" y="973"/>
                  <a:pt x="196" y="1169"/>
                  <a:pt x="439" y="1169"/>
                </a:cubicBezTo>
                <a:cubicBezTo>
                  <a:pt x="1169" y="1169"/>
                  <a:pt x="1169" y="1169"/>
                  <a:pt x="1169" y="1169"/>
                </a:cubicBezTo>
                <a:cubicBezTo>
                  <a:pt x="1169" y="439"/>
                  <a:pt x="1169" y="439"/>
                  <a:pt x="1169" y="439"/>
                </a:cubicBezTo>
                <a:cubicBezTo>
                  <a:pt x="1169" y="196"/>
                  <a:pt x="973" y="0"/>
                  <a:pt x="731" y="0"/>
                </a:cubicBezTo>
                <a:close/>
              </a:path>
            </a:pathLst>
          </a:custGeom>
          <a:solidFill>
            <a:schemeClr val="bg1">
              <a:lumMod val="85000"/>
              <a:alpha val="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hangingPunct="1"/>
            <a:endParaRPr lang="id-ID" sz="1800" kern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5457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348880"/>
            <a:ext cx="10750219" cy="707886"/>
          </a:xfrm>
        </p:spPr>
        <p:txBody>
          <a:bodyPr wrap="square" anchor="t" anchorCtr="0">
            <a:spAutoFit/>
          </a:bodyPr>
          <a:lstStyle>
            <a:lvl1pPr algn="l">
              <a:defRPr b="1" i="0" baseline="0"/>
            </a:lvl1pPr>
          </a:lstStyle>
          <a:p>
            <a:r>
              <a:rPr lang="en-US" dirty="0"/>
              <a:t>Sess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51584" y="4581128"/>
            <a:ext cx="9409045" cy="1512168"/>
          </a:xfrm>
        </p:spPr>
        <p:txBody>
          <a:bodyPr>
            <a:normAutofit/>
          </a:bodyPr>
          <a:lstStyle>
            <a:lvl1pPr marL="0" indent="0" algn="r">
              <a:buNone/>
              <a:defRPr sz="2600" baseline="0">
                <a:solidFill>
                  <a:srgbClr val="5F5F5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</a:t>
            </a:r>
            <a:br>
              <a:rPr lang="en-US" dirty="0"/>
            </a:br>
            <a:r>
              <a:rPr lang="en-GB" dirty="0"/>
              <a:t>Speaker Title</a:t>
            </a:r>
            <a:br>
              <a:rPr lang="en-GB" dirty="0"/>
            </a:br>
            <a:r>
              <a:rPr lang="en-GB" dirty="0"/>
              <a:t>Speaker Company</a:t>
            </a:r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0918163" y="260649"/>
            <a:ext cx="1139064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900" dirty="0">
                <a:solidFill>
                  <a:schemeClr val="bg1"/>
                </a:solidFill>
              </a:rPr>
              <a:t>#AIIM</a:t>
            </a:r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6979" y="338178"/>
            <a:ext cx="1213501" cy="2142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12192000" cy="1371600"/>
          </a:xfrm>
          <a:prstGeom prst="rect">
            <a:avLst/>
          </a:prstGeom>
          <a:solidFill>
            <a:srgbClr val="139B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404665"/>
            <a:ext cx="2688299" cy="683466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3983766" y="619180"/>
            <a:ext cx="8208235" cy="411480"/>
          </a:xfrm>
          <a:prstGeom prst="rect">
            <a:avLst/>
          </a:prstGeom>
          <a:solidFill>
            <a:srgbClr val="139BCD"/>
          </a:solidFill>
          <a:ln>
            <a:noFill/>
          </a:ln>
          <a:effectLst>
            <a:outerShdw blurRad="50800" dist="63500" dir="5400000" algn="t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The Global Community</a:t>
            </a:r>
            <a:r>
              <a:rPr lang="en-US" sz="2000" b="1" baseline="0" dirty="0"/>
              <a:t> of Information Professionals</a:t>
            </a:r>
            <a:endParaRPr lang="en-US" sz="2000" b="1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618349"/>
            <a:ext cx="1007435" cy="412310"/>
          </a:xfrm>
          <a:prstGeom prst="rect">
            <a:avLst/>
          </a:prstGeom>
          <a:solidFill>
            <a:srgbClr val="139BCD"/>
          </a:solidFill>
          <a:ln>
            <a:noFill/>
          </a:ln>
          <a:effectLst>
            <a:outerShdw blurRad="50800" dist="63500" dir="2700000" algn="tl" rotWithShape="0">
              <a:schemeClr val="tx1">
                <a:lumMod val="85000"/>
                <a:lumOff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662634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119033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BC082-ACFF-404C-8931-CC945D62630D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FF2E1-A785-4D5E-9AA1-76D6E8BD0068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5021994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90133" y="2595563"/>
            <a:ext cx="4754880" cy="368141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63379" y="2595563"/>
            <a:ext cx="4754880" cy="368141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8773584" y="188915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94367" y="188915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19984" y="6569078"/>
            <a:ext cx="609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E3E205-BCC7-CE41-BC58-0ABEEECE9757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2832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BA62E187-5783-204B-96D8-63CA940C38C6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49813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9818" y="363072"/>
            <a:ext cx="6526305" cy="927848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10776" y="6352244"/>
            <a:ext cx="1482165" cy="3651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56729F1D-A762-C942-B2CC-D6E3C5EF704D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4973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8840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12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av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nd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1160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C:\Documents and Settings\awitwer\Desktop\OnBase_an_HSs_RGB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3718" y="76200"/>
            <a:ext cx="1708149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09600" y="0"/>
            <a:ext cx="10363200" cy="1447800"/>
          </a:xfrm>
        </p:spPr>
        <p:txBody>
          <a:bodyPr anchor="b"/>
          <a:lstStyle>
            <a:lvl1pPr algn="l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609600" y="1981200"/>
            <a:ext cx="109728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4672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a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Template-bands_v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96000"/>
            <a:ext cx="12192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C:\Documents and Settings\awitwer\Desktop\OnBase_an_HSs__RO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1439"/>
          <a:stretch>
            <a:fillRect/>
          </a:stretch>
        </p:blipFill>
        <p:spPr bwMode="auto">
          <a:xfrm>
            <a:off x="10318754" y="6248402"/>
            <a:ext cx="1619249" cy="430213"/>
          </a:xfrm>
          <a:prstGeom prst="rect">
            <a:avLst/>
          </a:prstGeom>
          <a:solidFill>
            <a:srgbClr val="56982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041708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ark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0"/>
          <p:cNvSpPr txBox="1">
            <a:spLocks noChangeArrowheads="1"/>
          </p:cNvSpPr>
          <p:nvPr userDrawn="1"/>
        </p:nvSpPr>
        <p:spPr bwMode="auto">
          <a:xfrm>
            <a:off x="6807200" y="5181600"/>
            <a:ext cx="2540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endParaRPr lang="en-US" sz="1800">
              <a:latin typeface="Calibri" charset="0"/>
            </a:endParaRPr>
          </a:p>
        </p:txBody>
      </p:sp>
      <p:sp>
        <p:nvSpPr>
          <p:cNvPr id="3" name="TextBox 8"/>
          <p:cNvSpPr txBox="1"/>
          <p:nvPr userDrawn="1"/>
        </p:nvSpPr>
        <p:spPr>
          <a:xfrm>
            <a:off x="9855200" y="3840165"/>
            <a:ext cx="2032000" cy="3170099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ja-JP" altLang="en-US" sz="20000">
                <a:solidFill>
                  <a:srgbClr val="FFFFFF"/>
                </a:solidFill>
                <a:latin typeface="Elephant" charset="0"/>
                <a:cs typeface="ＭＳ Ｐゴシック" charset="0"/>
              </a:rPr>
              <a:t>”</a:t>
            </a:r>
            <a:endParaRPr lang="en-US" sz="20000">
              <a:solidFill>
                <a:srgbClr val="FFFFFF"/>
              </a:solidFill>
              <a:latin typeface="Elephant" charset="0"/>
              <a:cs typeface="ＭＳ Ｐゴシック" charset="0"/>
            </a:endParaRPr>
          </a:p>
        </p:txBody>
      </p:sp>
      <p:sp>
        <p:nvSpPr>
          <p:cNvPr id="4" name="TextBox 9"/>
          <p:cNvSpPr txBox="1"/>
          <p:nvPr userDrawn="1"/>
        </p:nvSpPr>
        <p:spPr>
          <a:xfrm>
            <a:off x="304800" y="838202"/>
            <a:ext cx="2032000" cy="3170099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ja-JP" altLang="en-US" sz="20000">
                <a:solidFill>
                  <a:srgbClr val="FFFFFF"/>
                </a:solidFill>
                <a:latin typeface="Elephant" charset="0"/>
                <a:cs typeface="ＭＳ Ｐゴシック" charset="0"/>
              </a:rPr>
              <a:t>“</a:t>
            </a:r>
            <a:endParaRPr lang="en-US" sz="20000">
              <a:solidFill>
                <a:srgbClr val="FFFFFF"/>
              </a:solidFill>
              <a:latin typeface="Elephant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53035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verse 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awitwer\Desktop\OnBase_an_HSs_RGB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3718" y="158750"/>
            <a:ext cx="1708149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-76200"/>
            <a:ext cx="10972800" cy="1143000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600" y="1143000"/>
            <a:ext cx="10972800" cy="533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0768237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reen lo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C:\Documents and Settings\awitwer\Desktop\OnBase_an_HSs_RGB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3718" y="152400"/>
            <a:ext cx="1708149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876800"/>
            <a:ext cx="12192000" cy="1143000"/>
          </a:xfrm>
          <a:prstGeom prst="rect">
            <a:avLst/>
          </a:prstGeom>
          <a:gradFill>
            <a:gsLst>
              <a:gs pos="0">
                <a:schemeClr val="lt1">
                  <a:tint val="80000"/>
                  <a:satMod val="300000"/>
                  <a:alpha val="16000"/>
                </a:schemeClr>
              </a:gs>
              <a:gs pos="100000">
                <a:schemeClr val="bg2"/>
              </a:gs>
            </a:gsLst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1003">
            <a:schemeClr val="lt1"/>
          </a:fillRef>
          <a:effectRef idx="3">
            <a:schemeClr val="accent3"/>
          </a:effectRef>
          <a:fontRef idx="none"/>
        </p:style>
        <p:txBody>
          <a:bodyPr/>
          <a:lstStyle>
            <a:lvl1pPr>
              <a:defRPr b="1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595891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BC082-ACFF-404C-8931-CC945D62630D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FF2E1-A785-4D5E-9AA1-76D6E8BD0068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Custom Layout">
    <p:bg>
      <p:bgPr>
        <a:gradFill flip="none" rotWithShape="1">
          <a:gsLst>
            <a:gs pos="0">
              <a:schemeClr val="accent3">
                <a:lumMod val="60000"/>
                <a:lumOff val="40000"/>
              </a:schemeClr>
            </a:gs>
            <a:gs pos="100000">
              <a:schemeClr val="accent6">
                <a:lumMod val="75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0" y="2933700"/>
            <a:ext cx="12192000" cy="990600"/>
          </a:xfrm>
        </p:spPr>
        <p:txBody>
          <a:bodyPr anchor="ctr"/>
          <a:lstStyle>
            <a:lvl1pPr marL="0" indent="0" algn="ctr">
              <a:buNone/>
              <a:defRPr sz="4000" b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  <a:lvl2pPr>
              <a:defRPr b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2pPr>
            <a:lvl3pPr>
              <a:defRPr b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3pPr>
            <a:lvl4pPr>
              <a:defRPr b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4pPr>
            <a:lvl5pPr>
              <a:defRPr b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16261110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4"/>
          <p:cNvCxnSpPr/>
          <p:nvPr userDrawn="1"/>
        </p:nvCxnSpPr>
        <p:spPr>
          <a:xfrm>
            <a:off x="637118" y="1196975"/>
            <a:ext cx="11040533" cy="0"/>
          </a:xfrm>
          <a:prstGeom prst="line">
            <a:avLst/>
          </a:prstGeom>
          <a:ln w="76200">
            <a:solidFill>
              <a:srgbClr val="2463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11"/>
          <p:cNvSpPr txBox="1">
            <a:spLocks noChangeArrowheads="1"/>
          </p:cNvSpPr>
          <p:nvPr userDrawn="1"/>
        </p:nvSpPr>
        <p:spPr bwMode="auto">
          <a:xfrm>
            <a:off x="11450413" y="6464302"/>
            <a:ext cx="42832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 eaLnBrk="1" hangingPunct="1"/>
            <a:fld id="{93714CA9-DE83-7044-8AAF-2F70FC15F280}" type="slidenum">
              <a:rPr lang="fr-FR" sz="1200">
                <a:solidFill>
                  <a:srgbClr val="404040"/>
                </a:solidFill>
              </a:rPr>
              <a:pPr algn="r" eaLnBrk="1" hangingPunct="1"/>
              <a:t>‹nº›</a:t>
            </a:fld>
            <a:endParaRPr lang="fr-FR" sz="1200">
              <a:solidFill>
                <a:srgbClr val="404040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0"/>
            <a:ext cx="239184" cy="6858000"/>
          </a:xfrm>
          <a:prstGeom prst="rect">
            <a:avLst/>
          </a:prstGeom>
          <a:gradFill rotWithShape="1">
            <a:gsLst>
              <a:gs pos="0">
                <a:srgbClr val="595959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>
            <a:outerShdw blurRad="50800" dist="38100" algn="l" rotWithShape="0">
              <a:srgbClr val="00000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27382" y="44624"/>
            <a:ext cx="11151029" cy="1143000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rgbClr val="2463A9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27382" y="1556794"/>
            <a:ext cx="11151029" cy="4752528"/>
          </a:xfrm>
          <a:prstGeom prst="rect">
            <a:avLst/>
          </a:prstGeom>
        </p:spPr>
        <p:txBody>
          <a:bodyPr/>
          <a:lstStyle>
            <a:lvl1pPr marL="342900" indent="-342900">
              <a:buSzPct val="100000"/>
              <a:buFont typeface="Arial"/>
              <a:buChar char="•"/>
              <a:defRPr>
                <a:solidFill>
                  <a:srgbClr val="2463A9"/>
                </a:solidFill>
              </a:defRPr>
            </a:lvl1pPr>
            <a:lvl2pPr marL="742950" indent="-285750">
              <a:buClr>
                <a:schemeClr val="bg1"/>
              </a:buClr>
              <a:buFont typeface="Arial"/>
              <a:buChar char="•"/>
              <a:defRPr b="0" i="0">
                <a:solidFill>
                  <a:schemeClr val="bg1">
                    <a:lumMod val="75000"/>
                    <a:lumOff val="25000"/>
                  </a:schemeClr>
                </a:solidFill>
              </a:defRPr>
            </a:lvl2pPr>
            <a:lvl3pPr>
              <a:buClr>
                <a:schemeClr val="bg1">
                  <a:lumMod val="65000"/>
                  <a:lumOff val="35000"/>
                </a:schemeClr>
              </a:buClr>
              <a:defRPr sz="1800">
                <a:solidFill>
                  <a:schemeClr val="bg1">
                    <a:lumMod val="65000"/>
                    <a:lumOff val="35000"/>
                  </a:schemeClr>
                </a:solidFill>
              </a:defRPr>
            </a:lvl3pPr>
            <a:lvl4pPr>
              <a:defRPr sz="1600">
                <a:solidFill>
                  <a:schemeClr val="bg1">
                    <a:lumMod val="65000"/>
                    <a:lumOff val="35000"/>
                  </a:schemeClr>
                </a:solidFill>
              </a:defRPr>
            </a:lvl4pPr>
            <a:lvl5pPr>
              <a:defRPr sz="1600">
                <a:solidFill>
                  <a:schemeClr val="bg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1075405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609600" y="980728"/>
            <a:ext cx="10972800" cy="5328592"/>
          </a:xfrm>
        </p:spPr>
        <p:txBody>
          <a:bodyPr/>
          <a:lstStyle>
            <a:lvl1pPr marL="0" indent="0">
              <a:buNone/>
              <a:defRPr sz="2400">
                <a:latin typeface="+mn-lt"/>
                <a:ea typeface="+mn-ea"/>
              </a:defRPr>
            </a:lvl1pPr>
            <a:lvl2pPr>
              <a:buFont typeface="Wingdings" pitchFamily="2" charset="2"/>
              <a:buChar char="Ø"/>
              <a:defRPr sz="2000">
                <a:latin typeface="+mn-lt"/>
                <a:ea typeface="+mn-ea"/>
              </a:defRPr>
            </a:lvl2pPr>
            <a:lvl3pPr>
              <a:defRPr sz="1800">
                <a:latin typeface="+mn-lt"/>
                <a:ea typeface="+mn-ea"/>
              </a:defRPr>
            </a:lvl3pPr>
            <a:lvl4pPr>
              <a:defRPr sz="1600">
                <a:latin typeface="+mn-lt"/>
                <a:ea typeface="+mn-ea"/>
              </a:defRPr>
            </a:lvl4pPr>
            <a:lvl5pPr>
              <a:defRPr sz="1600">
                <a:latin typeface="+mn-lt"/>
                <a:ea typeface="+mn-ea"/>
              </a:defRPr>
            </a:lvl5pPr>
          </a:lstStyle>
          <a:p>
            <a:pPr lvl="0"/>
            <a:r>
              <a:rPr lang="ja-JP" altLang="en-US" dirty="0"/>
              <a:t>マスタ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>
          <a:xfrm>
            <a:off x="609600" y="60769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>
          <a:xfrm>
            <a:off x="4165600" y="6254752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 dirty="0"/>
          </a:p>
        </p:txBody>
      </p:sp>
      <p:sp>
        <p:nvSpPr>
          <p:cNvPr id="8" name="スライド番号プレースホルダ 5"/>
          <p:cNvSpPr txBox="1">
            <a:spLocks/>
          </p:cNvSpPr>
          <p:nvPr userDrawn="1"/>
        </p:nvSpPr>
        <p:spPr>
          <a:xfrm>
            <a:off x="9317583" y="6561072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ja-JP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898989"/>
                </a:solidFill>
                <a:latin typeface="Calibri" pitchFamily="34" charset="0"/>
                <a:ea typeface="ＭＳ Ｐゴシック" pitchFamily="50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2400" kern="1200">
                <a:solidFill>
                  <a:schemeClr val="tx1"/>
                </a:solidFill>
                <a:latin typeface="Microsoft Sans Serif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2400" kern="1200">
                <a:solidFill>
                  <a:schemeClr val="tx1"/>
                </a:solidFill>
                <a:latin typeface="Microsoft Sans Serif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2400" kern="1200">
                <a:solidFill>
                  <a:schemeClr val="tx1"/>
                </a:solidFill>
                <a:latin typeface="Microsoft Sans Serif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2400" kern="1200">
                <a:solidFill>
                  <a:schemeClr val="tx1"/>
                </a:solidFill>
                <a:latin typeface="Microsoft Sans Serif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umimoji="1" sz="2400" kern="1200">
                <a:solidFill>
                  <a:schemeClr val="tx1"/>
                </a:solidFill>
                <a:latin typeface="Microsoft Sans Serif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umimoji="1" sz="2400" kern="1200">
                <a:solidFill>
                  <a:schemeClr val="tx1"/>
                </a:solidFill>
                <a:latin typeface="Microsoft Sans Serif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umimoji="1" sz="2400" kern="1200">
                <a:solidFill>
                  <a:schemeClr val="tx1"/>
                </a:solidFill>
                <a:latin typeface="Microsoft Sans Serif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umimoji="1" sz="2400" kern="1200">
                <a:solidFill>
                  <a:schemeClr val="tx1"/>
                </a:solidFill>
                <a:latin typeface="Microsoft Sans Serif" pitchFamily="34" charset="0"/>
                <a:ea typeface="ＭＳ Ｐゴシック" charset="-128"/>
                <a:cs typeface="+mn-cs"/>
              </a:defRPr>
            </a:lvl9pPr>
          </a:lstStyle>
          <a:p>
            <a:pPr>
              <a:defRPr/>
            </a:pPr>
            <a:fld id="{341BEDD1-CC97-41E9-979C-A70791C81DBA}" type="slidenum">
              <a:rPr lang="ja-JP" altLang="en-US" sz="1400" smtClean="0">
                <a:solidFill>
                  <a:schemeClr val="bg1"/>
                </a:solidFill>
              </a:rPr>
              <a:pPr>
                <a:defRPr/>
              </a:pPr>
              <a:t>‹nº›</a:t>
            </a:fld>
            <a:endParaRPr lang="ja-JP" altLang="en-US" sz="1400" dirty="0">
              <a:solidFill>
                <a:schemeClr val="bg1"/>
              </a:solidFill>
            </a:endParaRPr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>
          <a:xfrm>
            <a:off x="8737600" y="6376990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97936D5-DE1C-4DFA-9AA5-DFE340829E0E}" type="slidenum">
              <a:rPr lang="ja-JP" altLang="en-US" smtClean="0"/>
              <a:pPr>
                <a:defRPr/>
              </a:pPr>
              <a:t>‹nº›</a:t>
            </a:fld>
            <a:endParaRPr lang="ja-JP" altLang="en-US" dirty="0"/>
          </a:p>
        </p:txBody>
      </p:sp>
      <p:sp>
        <p:nvSpPr>
          <p:cNvPr id="10" name="タイトル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54770480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1634315" y="6448341"/>
            <a:ext cx="47641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EE8BD428-F1C8-A443-9E13-B54E911F42DE}" type="slidenum">
              <a:rPr lang="en-US" sz="1400" smtClean="0">
                <a:solidFill>
                  <a:schemeClr val="bg1">
                    <a:lumMod val="65000"/>
                  </a:schemeClr>
                </a:solidFill>
              </a:rPr>
              <a:pPr/>
              <a:t>‹nº›</a:t>
            </a:fld>
            <a:endParaRPr lang="en-US" sz="14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18000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6" y="1535114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6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10776" y="6352245"/>
            <a:ext cx="1482165" cy="365125"/>
          </a:xfrm>
        </p:spPr>
        <p:txBody>
          <a:bodyPr/>
          <a:lstStyle>
            <a:lvl1pPr algn="l">
              <a:defRPr/>
            </a:lvl1pPr>
          </a:lstStyle>
          <a:p>
            <a:fld id="{56729F1D-A762-C942-B2CC-D6E3C5EF704D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695719" y="363071"/>
            <a:ext cx="8886683" cy="927848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81315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719403" y="1484784"/>
            <a:ext cx="10972800" cy="482453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" name="Picture 2" descr="\\AIIM-SVR1\RedirectedFolders\chris\Desktop\headerbar.pn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V="1">
            <a:off x="-3955" y="6741369"/>
            <a:ext cx="12195955" cy="45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\\AIIM-SVR1\RedirectedFolders\chris\Desktop\headerbar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8682" y="188641"/>
            <a:ext cx="11840633" cy="96202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>
            <a:spLocks noGrp="1"/>
          </p:cNvSpPr>
          <p:nvPr>
            <p:ph type="ctrTitle" idx="10"/>
          </p:nvPr>
        </p:nvSpPr>
        <p:spPr>
          <a:xfrm>
            <a:off x="431371" y="260649"/>
            <a:ext cx="10363200" cy="720080"/>
          </a:xfrm>
          <a:prstGeom prst="rect">
            <a:avLst/>
          </a:prstGeom>
        </p:spPr>
        <p:txBody>
          <a:bodyPr/>
          <a:lstStyle>
            <a:lvl1pPr algn="l">
              <a:defRPr sz="4000" b="1">
                <a:solidFill>
                  <a:schemeClr val="bg1"/>
                </a:solidFill>
                <a:effectLst>
                  <a:reflection blurRad="6350" stA="10000" endPos="45500" dir="5400000" sy="-100000" algn="bl" rotWithShape="0"/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682430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Slide title. Arial~32pt Bold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97418" y="992823"/>
            <a:ext cx="11262783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None/>
              <a:defRPr sz="1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None/>
              <a:defRPr sz="1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None/>
              <a:defRPr sz="1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None/>
              <a:defRPr sz="1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Sub heading text. Arial 24~pt Bold.</a:t>
            </a:r>
            <a:endParaRPr lang="en-GB" dirty="0"/>
          </a:p>
        </p:txBody>
      </p:sp>
      <p:sp>
        <p:nvSpPr>
          <p:cNvPr id="8" name="Date Placeholder 6"/>
          <p:cNvSpPr>
            <a:spLocks noGrp="1"/>
          </p:cNvSpPr>
          <p:nvPr>
            <p:ph type="dt" sz="half" idx="2"/>
          </p:nvPr>
        </p:nvSpPr>
        <p:spPr>
          <a:xfrm>
            <a:off x="503769" y="6506369"/>
            <a:ext cx="887711" cy="1615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GB" sz="450" kern="0" baseline="0" smtClean="0">
                <a:solidFill>
                  <a:srgbClr val="717171"/>
                </a:solidFill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3055673" y="6506369"/>
            <a:ext cx="6101027" cy="1615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algn="ctr" defTabSz="685800" rtl="0" eaLnBrk="1" latinLnBrk="0" hangingPunct="1">
              <a:defRPr lang="en-GB" sz="450" kern="0" baseline="0" dirty="0">
                <a:solidFill>
                  <a:srgbClr val="717171"/>
                </a:solidFill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1095568" y="6514154"/>
            <a:ext cx="655013" cy="1615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GB" sz="450" smtClean="0">
                <a:solidFill>
                  <a:srgbClr val="717171"/>
                </a:solidFill>
              </a:defRPr>
            </a:lvl1pPr>
          </a:lstStyle>
          <a:p>
            <a:pPr algn="r"/>
            <a:fld id="{4573338B-48E0-4503-8458-50861A84B1DB}" type="slidenum">
              <a:rPr lang="en-GB" smtClean="0"/>
              <a:pPr algn="r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879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773459" y="188263"/>
            <a:ext cx="2844800" cy="365124"/>
          </a:xfrm>
          <a:prstGeom prst="rect">
            <a:avLst/>
          </a:prstGeom>
        </p:spPr>
        <p:txBody>
          <a:bodyPr lIns="73472" tIns="36736" rIns="73472" bIns="36736"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494119" y="188263"/>
            <a:ext cx="3860800" cy="365124"/>
          </a:xfrm>
          <a:prstGeom prst="rect">
            <a:avLst/>
          </a:prstGeom>
        </p:spPr>
        <p:txBody>
          <a:bodyPr lIns="73472" tIns="36736" rIns="73472" bIns="36736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719859" y="6569080"/>
            <a:ext cx="609600" cy="365124"/>
          </a:xfrm>
          <a:prstGeom prst="rect">
            <a:avLst/>
          </a:prstGeom>
        </p:spPr>
        <p:txBody>
          <a:bodyPr lIns="73472" tIns="36736" rIns="73472" bIns="36736"/>
          <a:lstStyle/>
          <a:p>
            <a:fld id="{CF40B41D-FD10-4A38-B39B-626510BD49B7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54688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25"/>
          <p:cNvSpPr txBox="1">
            <a:spLocks noChangeArrowheads="1"/>
          </p:cNvSpPr>
          <p:nvPr userDrawn="1"/>
        </p:nvSpPr>
        <p:spPr bwMode="auto">
          <a:xfrm>
            <a:off x="6471149" y="95800"/>
            <a:ext cx="5841217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>
              <a:defRPr/>
            </a:pPr>
            <a:r>
              <a:rPr lang="pt-BR" sz="1500" b="1" dirty="0">
                <a:ln w="50800"/>
                <a:solidFill>
                  <a:schemeClr val="bg1">
                    <a:shade val="50000"/>
                  </a:schemeClr>
                </a:solidFill>
                <a:latin typeface="Tahoma" pitchFamily="34" charset="0"/>
                <a:cs typeface="Tahoma" pitchFamily="34" charset="0"/>
              </a:rPr>
              <a:t>Gestão Corporativa de Conteúdo</a:t>
            </a:r>
          </a:p>
        </p:txBody>
      </p:sp>
    </p:spTree>
    <p:extLst>
      <p:ext uri="{BB962C8B-B14F-4D97-AF65-F5344CB8AC3E}">
        <p14:creationId xmlns:p14="http://schemas.microsoft.com/office/powerpoint/2010/main" val="306411769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78C586-9FE0-43BA-988F-CB9FB0F60C81}" type="datetimeFigureOut">
              <a:rPr lang="pt-BR"/>
              <a:pPr>
                <a:defRPr/>
              </a:pPr>
              <a:t>20/08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0DB89B-15AD-4697-A34C-24F493B7896E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220226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BC082-ACFF-404C-8931-CC945D62630D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FF2E1-A785-4D5E-9AA1-76D6E8BD0068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2BFE2B8F-E23B-4047-8842-BFC2B8CD87D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F002EB54-DEEF-4C66-AD0A-3FDA9E91B50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4DA5666B-2491-4F8A-9527-1498E360BE7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D2CD68-5AFC-4AF4-89D8-CF40A8048ED6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41849532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27C0A78E-A309-47ED-AC62-AE04F7A9CC54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0F736221-4113-4EE1-A708-FB673270403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F7E8AD6B-0DD9-4C4F-8DFC-EE70AB61ED5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56B3EE-C04A-46E1-9D33-B252A45852C3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2081068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3A683491-4516-4D65-A529-5520E6D8339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42BC6752-FDFD-4EAA-A876-D9626D30427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966E4997-8BF9-4987-A638-4033A3B9626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1632E2-E6EA-4C42-8C63-A4A79AB46D91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53325697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05AAC8-25E4-4B69-939A-B95A8EB9680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AA25D44-8E37-4D1F-A691-B0F476AA851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9310E0-AE9E-42A1-A162-254E686F417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E40D6B-4DD8-42B8-8207-476376EB1D80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421262290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BABC0582-0373-48B4-B380-1134649DB6E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55E9747-048F-48BE-B5AE-B932A333BB7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CCA6FE6F-EB23-438B-82A7-2C7882CD0E1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FF72C5-9DB6-40A3-AD8D-16B768CC6549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68193056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32E8E287-775A-4014-9DE1-9AF2F4DB340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760D6CB4-94F3-44BE-A776-433C9796AF4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5FD371FE-A9AB-4D28-92D2-FF4C03FB964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D0C64F-4E3A-4140-A7D3-8C0EED641EBD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3199696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9AB743F6-36E1-4A38-B125-50D6D9C323E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E566F37B-D186-465F-960F-593988D992D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8DFAA37D-0B99-4F06-A90A-52F78206A99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CA1456-3E45-49FC-8586-BCBB06E77C19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64432172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EBBE946-A07F-4ED3-BD24-45AAAEB52C6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74DD6CF-4257-4C37-B908-13EEFB682D8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1A1617C-3443-4888-A4D7-35553E217FA9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348D43-9917-42CF-8D58-ECE9AD4EA3E4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75301667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E14BCB9-279C-4222-8101-29DA86DD7F7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2F20F7F-9993-4746-B879-8C2ECE73BFB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FC563D-AE35-4472-98F8-D4DA5FAD4079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58DBA0-F4F7-4820-BD84-F27A8735CD5D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64955843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5EBA642B-4010-4FE7-A142-65A1AFB2E7A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B14FD1B5-29EE-4CFA-9DB6-29917A26ABE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C8DBA463-4084-466B-9221-E2B0471EAC0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A1915D-1E48-4545-A11F-B9C6794DD184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8168856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BC082-ACFF-404C-8931-CC945D62630D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FF2E1-A785-4D5E-9AA1-76D6E8BD0068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E4382E0C-1DD7-410D-85E0-6E9BD83C9D7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425C04F0-BEDC-40DD-B962-849E6EE09CE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5F63787B-BCA8-4281-81B9-7BAF97FA01D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34273A-5832-4715-A8FC-1115C831AA28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6507780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DEBD14B0-E70C-29F2-F524-485DB5E733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RU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6C61751-D5C3-A5D4-545E-EAFFFFC7D8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RU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D32F3C7-6DC6-613F-685F-75BB447E0E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064" y="6361114"/>
            <a:ext cx="626165" cy="365125"/>
          </a:xfrm>
          <a:prstGeom prst="rect">
            <a:avLst/>
          </a:prstGeom>
        </p:spPr>
        <p:txBody>
          <a:bodyPr/>
          <a:lstStyle>
            <a:lvl1pPr>
              <a:defRPr sz="1275"/>
            </a:lvl1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#</a:t>
            </a:r>
            <a:fld id="{6ABE0F41-4B00-4E19-B697-F9CF08D9D381}" type="slidenum">
              <a:rPr lang="en-US" b="1" smtClean="0">
                <a:solidFill>
                  <a:schemeClr val="tx1"/>
                </a:solidFill>
              </a:rPr>
              <a:pPr algn="ctr"/>
              <a:t>‹nº›</a:t>
            </a:fld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DC91A77A-3A02-5240-2ACF-D77AF61B23D3}"/>
              </a:ext>
            </a:extLst>
          </p:cNvPr>
          <p:cNvSpPr txBox="1">
            <a:spLocks/>
          </p:cNvSpPr>
          <p:nvPr userDrawn="1"/>
        </p:nvSpPr>
        <p:spPr>
          <a:xfrm>
            <a:off x="4191000" y="5853114"/>
            <a:ext cx="41148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RU" sz="900" dirty="0"/>
          </a:p>
        </p:txBody>
      </p:sp>
    </p:spTree>
    <p:extLst>
      <p:ext uri="{BB962C8B-B14F-4D97-AF65-F5344CB8AC3E}">
        <p14:creationId xmlns:p14="http://schemas.microsoft.com/office/powerpoint/2010/main" val="323689584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BFCE4626-272A-2E87-6F50-3B43C7CCA0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RU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E1018DD-3D9F-9EC4-8F32-B3677AE2F0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465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RU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B11B9E4-B8C6-4569-783C-ACCC518B1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064" y="6361114"/>
            <a:ext cx="626165" cy="365125"/>
          </a:xfrm>
          <a:prstGeom prst="rect">
            <a:avLst/>
          </a:prstGeom>
        </p:spPr>
        <p:txBody>
          <a:bodyPr/>
          <a:lstStyle>
            <a:lvl1pPr>
              <a:defRPr sz="1275"/>
            </a:lvl1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#</a:t>
            </a:r>
            <a:fld id="{6ABE0F41-4B00-4E19-B697-F9CF08D9D381}" type="slidenum">
              <a:rPr lang="en-US" b="1" smtClean="0">
                <a:solidFill>
                  <a:schemeClr val="tx1"/>
                </a:solidFill>
              </a:rPr>
              <a:pPr algn="ctr"/>
              <a:t>‹nº›</a:t>
            </a:fld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70654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41681D11-2D9C-9973-3CBF-5550D2E2C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RU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57F58E2-2320-CFE2-CA42-269B84D33E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E32049F-7867-6C3A-7816-95699849B7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064" y="6361114"/>
            <a:ext cx="626165" cy="365125"/>
          </a:xfrm>
          <a:prstGeom prst="rect">
            <a:avLst/>
          </a:prstGeom>
        </p:spPr>
        <p:txBody>
          <a:bodyPr/>
          <a:lstStyle>
            <a:lvl1pPr>
              <a:defRPr sz="1275"/>
            </a:lvl1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#</a:t>
            </a:r>
            <a:fld id="{6ABE0F41-4B00-4E19-B697-F9CF08D9D381}" type="slidenum">
              <a:rPr lang="en-US" b="1" smtClean="0">
                <a:solidFill>
                  <a:schemeClr val="tx1"/>
                </a:solidFill>
              </a:rPr>
              <a:pPr algn="ctr"/>
              <a:t>‹nº›</a:t>
            </a:fld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1749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C3C5F63-70AC-953A-C8D3-484F92155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RU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8A4DA6F-2174-A85E-C701-0686DB4D72D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RU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88424D9-F4CA-384C-C1C5-97FBA3D5CE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RU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9274604-1445-36B9-0EDF-97C85AA130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064" y="6361114"/>
            <a:ext cx="626165" cy="365125"/>
          </a:xfrm>
          <a:prstGeom prst="rect">
            <a:avLst/>
          </a:prstGeom>
        </p:spPr>
        <p:txBody>
          <a:bodyPr/>
          <a:lstStyle>
            <a:lvl1pPr>
              <a:defRPr sz="1275"/>
            </a:lvl1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#</a:t>
            </a:r>
            <a:fld id="{6ABE0F41-4B00-4E19-B697-F9CF08D9D381}" type="slidenum">
              <a:rPr lang="en-US" b="1" smtClean="0">
                <a:solidFill>
                  <a:schemeClr val="tx1"/>
                </a:solidFill>
              </a:rPr>
              <a:pPr algn="ctr"/>
              <a:t>‹nº›</a:t>
            </a:fld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034290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781E931C-F2F6-C422-90AF-268D2AC4F5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RU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78DFD-9710-069E-2F4E-74B56D9DF1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12A663B0-A512-7E7A-50C2-83758E72DB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RU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945520F-B0AC-7E9D-6863-E37F32B1DB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11E6773B-99FE-15E0-52B4-ECD1602812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RU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86D1EA9-25A6-5753-DACF-9A74D531C6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064" y="6361114"/>
            <a:ext cx="626165" cy="365125"/>
          </a:xfrm>
          <a:prstGeom prst="rect">
            <a:avLst/>
          </a:prstGeom>
        </p:spPr>
        <p:txBody>
          <a:bodyPr/>
          <a:lstStyle>
            <a:lvl1pPr>
              <a:defRPr sz="1275"/>
            </a:lvl1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#</a:t>
            </a:r>
            <a:fld id="{6ABE0F41-4B00-4E19-B697-F9CF08D9D381}" type="slidenum">
              <a:rPr lang="en-US" b="1" smtClean="0">
                <a:solidFill>
                  <a:schemeClr val="tx1"/>
                </a:solidFill>
              </a:rPr>
              <a:pPr algn="ctr"/>
              <a:t>‹nº›</a:t>
            </a:fld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62247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9E365E2-2B3A-3F7A-0741-78303BC3A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064" y="6361114"/>
            <a:ext cx="626165" cy="365125"/>
          </a:xfrm>
          <a:prstGeom prst="rect">
            <a:avLst/>
          </a:prstGeom>
        </p:spPr>
        <p:txBody>
          <a:bodyPr/>
          <a:lstStyle>
            <a:lvl1pPr>
              <a:defRPr sz="1275"/>
            </a:lvl1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#</a:t>
            </a:r>
            <a:fld id="{6ABE0F41-4B00-4E19-B697-F9CF08D9D381}" type="slidenum">
              <a:rPr lang="en-US" b="1" smtClean="0">
                <a:solidFill>
                  <a:schemeClr val="tx1"/>
                </a:solidFill>
              </a:rPr>
              <a:pPr algn="ctr"/>
              <a:t>‹nº›</a:t>
            </a:fld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13588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E0EB38E-F604-D99D-3C88-2254985A2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42912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RU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FB649CD-37A1-C84B-A9DE-565509FB6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73139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 Rounded MT Bold" panose="020F0704030504030204" pitchFamily="34" charset="77"/>
                <a:cs typeface="Arial" panose="020B0604020202020204" pitchFamily="34" charset="0"/>
              </a:defRPr>
            </a:lvl1pPr>
            <a:lvl2pPr>
              <a:defRPr sz="2100">
                <a:latin typeface="Arial Rounded MT Bold" panose="020F0704030504030204" pitchFamily="34" charset="77"/>
                <a:cs typeface="Arial" panose="020B0604020202020204" pitchFamily="34" charset="0"/>
              </a:defRPr>
            </a:lvl2pPr>
            <a:lvl3pPr>
              <a:defRPr sz="1800">
                <a:latin typeface="Arial Rounded MT Bold" panose="020F0704030504030204" pitchFamily="34" charset="77"/>
                <a:cs typeface="Arial" panose="020B0604020202020204" pitchFamily="34" charset="0"/>
              </a:defRPr>
            </a:lvl3pPr>
            <a:lvl4pPr>
              <a:defRPr sz="1500">
                <a:latin typeface="Arial Rounded MT Bold" panose="020F0704030504030204" pitchFamily="34" charset="77"/>
                <a:cs typeface="Arial" panose="020B0604020202020204" pitchFamily="34" charset="0"/>
              </a:defRPr>
            </a:lvl4pPr>
            <a:lvl5pPr>
              <a:defRPr sz="1500">
                <a:latin typeface="Arial Rounded MT Bold" panose="020F0704030504030204" pitchFamily="34" charset="77"/>
                <a:cs typeface="Arial" panose="020B0604020202020204" pitchFamily="34" charset="0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RU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7B6149C-91CC-610A-CDD7-404696E1A1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43112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B9C02CD-E676-E1EC-3A41-EF8DF56498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064" y="6346826"/>
            <a:ext cx="626165" cy="365125"/>
          </a:xfrm>
          <a:prstGeom prst="rect">
            <a:avLst/>
          </a:prstGeom>
        </p:spPr>
        <p:txBody>
          <a:bodyPr/>
          <a:lstStyle>
            <a:lvl1pPr>
              <a:defRPr sz="1275"/>
            </a:lvl1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#</a:t>
            </a:r>
            <a:fld id="{6ABE0F41-4B00-4E19-B697-F9CF08D9D381}" type="slidenum">
              <a:rPr lang="en-US" b="1" smtClean="0">
                <a:solidFill>
                  <a:schemeClr val="tx1"/>
                </a:solidFill>
              </a:rPr>
              <a:pPr algn="ctr"/>
              <a:t>‹nº›</a:t>
            </a:fld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36043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DDE51C2-6524-1853-5A5F-ECE66C632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RU" dirty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17108C4-E554-43FE-D0D0-3B9C83EEBB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RU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B53C26A-7403-1EAD-A216-3CAB940ED4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3DBE416-11D4-3EF1-527C-1A90194C3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064" y="6361114"/>
            <a:ext cx="626165" cy="365125"/>
          </a:xfrm>
          <a:prstGeom prst="rect">
            <a:avLst/>
          </a:prstGeom>
        </p:spPr>
        <p:txBody>
          <a:bodyPr/>
          <a:lstStyle>
            <a:lvl1pPr>
              <a:defRPr sz="1275"/>
            </a:lvl1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#</a:t>
            </a:r>
            <a:fld id="{6ABE0F41-4B00-4E19-B697-F9CF08D9D381}" type="slidenum">
              <a:rPr lang="en-US" b="1" smtClean="0">
                <a:solidFill>
                  <a:schemeClr val="tx1"/>
                </a:solidFill>
              </a:rPr>
              <a:pPr algn="ctr"/>
              <a:t>‹nº›</a:t>
            </a:fld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45150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A8EB13FD-4C6F-444A-D5F5-BFB983961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RU" dirty="0"/>
          </a:p>
        </p:txBody>
      </p:sp>
      <p:sp>
        <p:nvSpPr>
          <p:cNvPr id="11" name="Vertical Text Placeholder 2">
            <a:extLst>
              <a:ext uri="{FF2B5EF4-FFF2-40B4-BE49-F238E27FC236}">
                <a16:creationId xmlns:a16="http://schemas.microsoft.com/office/drawing/2014/main" id="{F0C1D1B1-6EE2-CB13-5D52-3478A19DF1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7"/>
            <a:ext cx="10515600" cy="4163341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RU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76DE408-3936-4884-371F-5C32C91033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064" y="6361114"/>
            <a:ext cx="626165" cy="365125"/>
          </a:xfrm>
          <a:prstGeom prst="rect">
            <a:avLst/>
          </a:prstGeom>
        </p:spPr>
        <p:txBody>
          <a:bodyPr/>
          <a:lstStyle>
            <a:lvl1pPr>
              <a:defRPr sz="1275"/>
            </a:lvl1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#</a:t>
            </a:r>
            <a:fld id="{6ABE0F41-4B00-4E19-B697-F9CF08D9D381}" type="slidenum">
              <a:rPr lang="en-US" b="1" smtClean="0">
                <a:solidFill>
                  <a:schemeClr val="tx1"/>
                </a:solidFill>
              </a:rPr>
              <a:pPr algn="ctr"/>
              <a:t>‹nº›</a:t>
            </a:fld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8599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BC082-ACFF-404C-8931-CC945D62630D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FF2E1-A785-4D5E-9AA1-76D6E8BD0068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ertical Title 1">
            <a:extLst>
              <a:ext uri="{FF2B5EF4-FFF2-40B4-BE49-F238E27FC236}">
                <a16:creationId xmlns:a16="http://schemas.microsoft.com/office/drawing/2014/main" id="{5307B3E3-3CAE-358A-9D98-D135C132DD7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RU" dirty="0"/>
          </a:p>
        </p:txBody>
      </p:sp>
      <p:sp>
        <p:nvSpPr>
          <p:cNvPr id="8" name="Vertical Text Placeholder 2">
            <a:extLst>
              <a:ext uri="{FF2B5EF4-FFF2-40B4-BE49-F238E27FC236}">
                <a16:creationId xmlns:a16="http://schemas.microsoft.com/office/drawing/2014/main" id="{44DAFD8F-7197-B342-662F-038CB7E509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RU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0D39CF3-3574-B3E6-23BF-8DCC5AB6E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6064" y="6361114"/>
            <a:ext cx="626165" cy="365125"/>
          </a:xfrm>
          <a:prstGeom prst="rect">
            <a:avLst/>
          </a:prstGeom>
        </p:spPr>
        <p:txBody>
          <a:bodyPr/>
          <a:lstStyle>
            <a:lvl1pPr>
              <a:defRPr sz="1275"/>
            </a:lvl1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#</a:t>
            </a:r>
            <a:fld id="{6ABE0F41-4B00-4E19-B697-F9CF08D9D381}" type="slidenum">
              <a:rPr lang="en-US" b="1" smtClean="0">
                <a:solidFill>
                  <a:schemeClr val="tx1"/>
                </a:solidFill>
              </a:rPr>
              <a:pPr algn="ctr"/>
              <a:t>‹nº›</a:t>
            </a:fld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6067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91922" y="880948"/>
            <a:ext cx="4282607" cy="992459"/>
          </a:xfrm>
        </p:spPr>
        <p:txBody>
          <a:bodyPr/>
          <a:lstStyle>
            <a:lvl1pPr>
              <a:defRPr sz="2700"/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8A06BB7D-93D3-F371-EF1E-26DD1BF07BA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solidFill>
            <a:schemeClr val="bg1">
              <a:lumMod val="85000"/>
            </a:schemeClr>
          </a:solidFill>
        </p:spPr>
        <p:txBody>
          <a:bodyPr lIns="91440" tIns="182880"/>
          <a:lstStyle>
            <a:lvl1pPr marL="0" indent="0">
              <a:buNone/>
              <a:defRPr/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1" name="Rectangle 13">
            <a:extLst>
              <a:ext uri="{FF2B5EF4-FFF2-40B4-BE49-F238E27FC236}">
                <a16:creationId xmlns:a16="http://schemas.microsoft.com/office/drawing/2014/main" id="{5DEBC973-9277-22AA-6041-31BD36ADBB06}"/>
              </a:ext>
            </a:extLst>
          </p:cNvPr>
          <p:cNvSpPr/>
          <p:nvPr userDrawn="1"/>
        </p:nvSpPr>
        <p:spPr>
          <a:xfrm>
            <a:off x="10191749" y="6584950"/>
            <a:ext cx="2000252" cy="273050"/>
          </a:xfrm>
          <a:custGeom>
            <a:avLst/>
            <a:gdLst>
              <a:gd name="connsiteX0" fmla="*/ 0 w 1724027"/>
              <a:gd name="connsiteY0" fmla="*/ 0 h 269875"/>
              <a:gd name="connsiteX1" fmla="*/ 1724027 w 1724027"/>
              <a:gd name="connsiteY1" fmla="*/ 0 h 269875"/>
              <a:gd name="connsiteX2" fmla="*/ 1724027 w 1724027"/>
              <a:gd name="connsiteY2" fmla="*/ 269875 h 269875"/>
              <a:gd name="connsiteX3" fmla="*/ 0 w 1724027"/>
              <a:gd name="connsiteY3" fmla="*/ 269875 h 269875"/>
              <a:gd name="connsiteX4" fmla="*/ 0 w 1724027"/>
              <a:gd name="connsiteY4" fmla="*/ 0 h 269875"/>
              <a:gd name="connsiteX0" fmla="*/ 276225 w 2000252"/>
              <a:gd name="connsiteY0" fmla="*/ 0 h 273050"/>
              <a:gd name="connsiteX1" fmla="*/ 2000252 w 2000252"/>
              <a:gd name="connsiteY1" fmla="*/ 0 h 273050"/>
              <a:gd name="connsiteX2" fmla="*/ 2000252 w 2000252"/>
              <a:gd name="connsiteY2" fmla="*/ 269875 h 273050"/>
              <a:gd name="connsiteX3" fmla="*/ 0 w 2000252"/>
              <a:gd name="connsiteY3" fmla="*/ 273050 h 273050"/>
              <a:gd name="connsiteX4" fmla="*/ 276225 w 2000252"/>
              <a:gd name="connsiteY4" fmla="*/ 0 h 273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0252" h="273050">
                <a:moveTo>
                  <a:pt x="276225" y="0"/>
                </a:moveTo>
                <a:lnTo>
                  <a:pt x="2000252" y="0"/>
                </a:lnTo>
                <a:lnTo>
                  <a:pt x="2000252" y="269875"/>
                </a:lnTo>
                <a:lnTo>
                  <a:pt x="0" y="273050"/>
                </a:lnTo>
                <a:lnTo>
                  <a:pt x="276225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9B787770-40D2-1611-6C03-55266E872E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480673" y="6584949"/>
            <a:ext cx="1593851" cy="273050"/>
          </a:xfrm>
        </p:spPr>
        <p:txBody>
          <a:bodyPr anchor="ctr" anchorCtr="0"/>
          <a:lstStyle>
            <a:lvl1pPr marL="0" indent="0" algn="r">
              <a:buFontTx/>
              <a:buNone/>
              <a:defRPr sz="600"/>
            </a:lvl1pPr>
            <a:lvl2pPr marL="6858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205740" indent="0">
              <a:buFontTx/>
              <a:buNone/>
              <a:defRPr/>
            </a:lvl4pPr>
            <a:lvl5pPr marL="342900" indent="0">
              <a:buFontTx/>
              <a:buNone/>
              <a:defRPr/>
            </a:lvl5pPr>
          </a:lstStyle>
          <a:p>
            <a:pPr lvl="0"/>
            <a:r>
              <a:rPr lang="en-US"/>
              <a:t>Property type | City, State/Region</a:t>
            </a:r>
          </a:p>
        </p:txBody>
      </p:sp>
      <p:sp>
        <p:nvSpPr>
          <p:cNvPr id="18" name="Table Placeholder 17">
            <a:extLst>
              <a:ext uri="{FF2B5EF4-FFF2-40B4-BE49-F238E27FC236}">
                <a16:creationId xmlns:a16="http://schemas.microsoft.com/office/drawing/2014/main" id="{AFED139C-5C02-51FE-C4EB-FA520EA849E9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992189" y="2446318"/>
            <a:ext cx="4283075" cy="2862283"/>
          </a:xfrm>
        </p:spPr>
        <p:txBody>
          <a:bodyPr/>
          <a:lstStyle>
            <a:lvl1pPr>
              <a:defRPr sz="1200" b="1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insert table</a:t>
            </a:r>
          </a:p>
        </p:txBody>
      </p:sp>
    </p:spTree>
    <p:extLst>
      <p:ext uri="{BB962C8B-B14F-4D97-AF65-F5344CB8AC3E}">
        <p14:creationId xmlns:p14="http://schemas.microsoft.com/office/powerpoint/2010/main" val="418204771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024130" y="6567983"/>
            <a:ext cx="2154143" cy="274320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6324768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4841" y="363071"/>
            <a:ext cx="8844631" cy="927848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10776" y="6352246"/>
            <a:ext cx="1482165" cy="365125"/>
          </a:xfrm>
        </p:spPr>
        <p:txBody>
          <a:bodyPr/>
          <a:lstStyle>
            <a:lvl1pPr algn="l">
              <a:defRPr/>
            </a:lvl1pPr>
          </a:lstStyle>
          <a:p>
            <a:fld id="{56729F1D-A762-C942-B2CC-D6E3C5EF704D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4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11634315" y="6448341"/>
            <a:ext cx="47641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EE8BD428-F1C8-A443-9E13-B54E911F42DE}" type="slidenum">
              <a:rPr lang="en-US" sz="1400" smtClean="0">
                <a:solidFill>
                  <a:schemeClr val="bg1">
                    <a:lumMod val="65000"/>
                  </a:schemeClr>
                </a:solidFill>
              </a:rPr>
              <a:pPr/>
              <a:t>‹nº›</a:t>
            </a:fld>
            <a:endParaRPr lang="en-US" sz="140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68103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19A1F-D24D-476A-A31B-0745DE051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346529"/>
              </p:ext>
            </p:extLst>
          </p:nvPr>
        </p:nvGraphicFramePr>
        <p:xfrm>
          <a:off x="1905" y="1907"/>
          <a:ext cx="1907" cy="19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19A1F-D24D-476A-A31B-0745DE051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05" y="1907"/>
                        <a:ext cx="1907" cy="19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B2B2E8C-DDB9-4D4B-991B-BE1E80AE022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2"/>
            <a:ext cx="190500" cy="190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061B1A-B0AC-447D-BEF0-C35B2F6D1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6D3483C-E7FA-4782-8C30-17337D09703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8677" y="1830707"/>
            <a:ext cx="10536555" cy="4191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B9AA3C-3422-4F50-A689-DCD621EE8B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416264-48BA-4754-AA02-FA6AD85394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2ACB19-C0E1-7345-B8BA-15A723BE30E5}" type="slidenum">
              <a:rPr lang="nb-NO" smtClean="0"/>
              <a:pPr/>
              <a:t>‹nº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16185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80EA0-7417-44CA-B555-E5EBE74F1D30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AD9E97-4A64-4D66-9BDD-9C29746FF27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480741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80EA0-7417-44CA-B555-E5EBE74F1D30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AD9E97-4A64-4D66-9BDD-9C29746FF27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597317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80EA0-7417-44CA-B555-E5EBE74F1D30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AD9E97-4A64-4D66-9BDD-9C29746FF27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8766521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80EA0-7417-44CA-B555-E5EBE74F1D30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AD9E97-4A64-4D66-9BDD-9C29746FF27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400892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80EA0-7417-44CA-B555-E5EBE74F1D30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AD9E97-4A64-4D66-9BDD-9C29746FF27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801875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BC082-ACFF-404C-8931-CC945D62630D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FF2E1-A785-4D5E-9AA1-76D6E8BD0068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80EA0-7417-44CA-B555-E5EBE74F1D30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AD9E97-4A64-4D66-9BDD-9C29746FF27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232064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80EA0-7417-44CA-B555-E5EBE74F1D30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AD9E97-4A64-4D66-9BDD-9C29746FF27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6815283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80EA0-7417-44CA-B555-E5EBE74F1D30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AD9E97-4A64-4D66-9BDD-9C29746FF27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5612572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80EA0-7417-44CA-B555-E5EBE74F1D30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AD9E97-4A64-4D66-9BDD-9C29746FF27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02299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80EA0-7417-44CA-B555-E5EBE74F1D30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AD9E97-4A64-4D66-9BDD-9C29746FF27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232992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80EA0-7417-44CA-B555-E5EBE74F1D30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AD9E97-4A64-4D66-9BDD-9C29746FF27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9678487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49B428-4192-4AF1-BBA1-CBC4830BBD7A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BA100-9F32-420D-B7FA-CE2E235C49F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634363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49B428-4192-4AF1-BBA1-CBC4830BBD7A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BA100-9F32-420D-B7FA-CE2E235C49F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62975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49B428-4192-4AF1-BBA1-CBC4830BBD7A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BA100-9F32-420D-B7FA-CE2E235C49F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2026050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49B428-4192-4AF1-BBA1-CBC4830BBD7A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BA100-9F32-420D-B7FA-CE2E235C49F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384379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BC082-ACFF-404C-8931-CC945D62630D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BFF2E1-A785-4D5E-9AA1-76D6E8BD0068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49B428-4192-4AF1-BBA1-CBC4830BBD7A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BA100-9F32-420D-B7FA-CE2E235C49F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8511243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49B428-4192-4AF1-BBA1-CBC4830BBD7A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BA100-9F32-420D-B7FA-CE2E235C49F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383725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49B428-4192-4AF1-BBA1-CBC4830BBD7A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BA100-9F32-420D-B7FA-CE2E235C49F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5612682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49B428-4192-4AF1-BBA1-CBC4830BBD7A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BA100-9F32-420D-B7FA-CE2E235C49F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14494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49B428-4192-4AF1-BBA1-CBC4830BBD7A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BA100-9F32-420D-B7FA-CE2E235C49F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9194596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49B428-4192-4AF1-BBA1-CBC4830BBD7A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BA100-9F32-420D-B7FA-CE2E235C49F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5962433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49B428-4192-4AF1-BBA1-CBC4830BBD7A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1BA100-9F32-420D-B7FA-CE2E235C49F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8362493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96FAE-FAB3-4789-9128-097BFB66FA03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9B8E9-8EAF-4026-A562-520F50B067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082597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96FAE-FAB3-4789-9128-097BFB66FA03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9B8E9-8EAF-4026-A562-520F50B067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7562815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96FAE-FAB3-4789-9128-097BFB66FA03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A9B8E9-8EAF-4026-A562-520F50B067C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89693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0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image" Target="../media/image13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22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image" Target="../media/image23.png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image" Target="../media/image25.png"/><Relationship Id="rId2" Type="http://schemas.openxmlformats.org/officeDocument/2006/relationships/slideLayout" Target="../slideLayouts/slideLayout62.xml"/><Relationship Id="rId16" Type="http://schemas.openxmlformats.org/officeDocument/2006/relationships/image" Target="../media/image24.png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1BC082-ACFF-404C-8931-CC945D62630D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BFF2E1-A785-4D5E-9AA1-76D6E8BD0068}" type="slidenum">
              <a:rPr lang="pt-BR" smtClean="0"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1BC082-ACFF-404C-8931-CC945D62630D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BFF2E1-A785-4D5E-9AA1-76D6E8BD006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41274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  <p:sldLayoutId id="2147484060" r:id="rId7"/>
    <p:sldLayoutId id="2147484061" r:id="rId8"/>
    <p:sldLayoutId id="2147484062" r:id="rId9"/>
    <p:sldLayoutId id="2147484063" r:id="rId10"/>
    <p:sldLayoutId id="214748406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7773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1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47595" y="44625"/>
            <a:ext cx="9134805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68761"/>
            <a:ext cx="10972800" cy="50405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Rectangle 8"/>
          <p:cNvSpPr/>
          <p:nvPr/>
        </p:nvSpPr>
        <p:spPr>
          <a:xfrm>
            <a:off x="623395" y="1124744"/>
            <a:ext cx="10945215" cy="63622"/>
          </a:xfrm>
          <a:prstGeom prst="rect">
            <a:avLst/>
          </a:prstGeom>
          <a:solidFill>
            <a:srgbClr val="139BC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440" y="260648"/>
            <a:ext cx="1593177" cy="648072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23395" y="6519446"/>
            <a:ext cx="29117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pyright © AIIM, www.aiim.org</a:t>
            </a:r>
          </a:p>
        </p:txBody>
      </p:sp>
    </p:spTree>
    <p:extLst>
      <p:ext uri="{BB962C8B-B14F-4D97-AF65-F5344CB8AC3E}">
        <p14:creationId xmlns:p14="http://schemas.microsoft.com/office/powerpoint/2010/main" val="473974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  <p:sldLayoutId id="2147483863" r:id="rId12"/>
    <p:sldLayoutId id="2147483864" r:id="rId13"/>
    <p:sldLayoutId id="2147483865" r:id="rId14"/>
    <p:sldLayoutId id="2147483866" r:id="rId15"/>
    <p:sldLayoutId id="2147483867" r:id="rId16"/>
    <p:sldLayoutId id="2147483868" r:id="rId17"/>
    <p:sldLayoutId id="2147483869" r:id="rId18"/>
    <p:sldLayoutId id="2147483870" r:id="rId19"/>
    <p:sldLayoutId id="2147483871" r:id="rId20"/>
  </p:sldLayoutIdLst>
  <p:hf sldNum="0" hdr="0" ftr="0" dt="0"/>
  <p:txStyles>
    <p:titleStyle>
      <a:lvl1pPr algn="r" defTabSz="914400" rtl="0" eaLnBrk="1" latinLnBrk="0" hangingPunct="1">
        <a:spcBef>
          <a:spcPct val="0"/>
        </a:spcBef>
        <a:buNone/>
        <a:defRPr sz="40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1996B3"/>
        </a:buClr>
        <a:buFont typeface="Wingdings" pitchFamily="2" charset="2"/>
        <a:buChar char="§"/>
        <a:defRPr sz="32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914400" indent="-457200" algn="l" defTabSz="914400" rtl="0" eaLnBrk="1" latinLnBrk="0" hangingPunct="1">
        <a:spcBef>
          <a:spcPct val="20000"/>
        </a:spcBef>
        <a:buClr>
          <a:srgbClr val="1996B3"/>
        </a:buClr>
        <a:buFont typeface="Wingdings" pitchFamily="2" charset="2"/>
        <a:buChar char="§"/>
        <a:defRPr sz="2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257300" indent="-342900" algn="l" defTabSz="914400" rtl="0" eaLnBrk="1" latinLnBrk="0" hangingPunct="1">
        <a:spcBef>
          <a:spcPct val="20000"/>
        </a:spcBef>
        <a:buClr>
          <a:srgbClr val="1996B3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1996B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1996B3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TERNA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3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FE9B3680-1C97-4D18-BDF1-386EB799C1E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 estilo do título mestr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30566EEB-72A8-49C1-A5EE-8D18474DDBA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3"/>
            <a:ext cx="10972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s estilos do texto mestre</a:t>
            </a:r>
          </a:p>
          <a:p>
            <a:pPr lvl="1"/>
            <a:r>
              <a:rPr lang="pt-BR" altLang="pt-BR"/>
              <a:t>Segundo nível</a:t>
            </a:r>
          </a:p>
          <a:p>
            <a:pPr lvl="2"/>
            <a:r>
              <a:rPr lang="pt-BR" altLang="pt-BR"/>
              <a:t>Terceiro nível</a:t>
            </a:r>
          </a:p>
          <a:p>
            <a:pPr lvl="3"/>
            <a:r>
              <a:rPr lang="pt-BR" altLang="pt-BR"/>
              <a:t>Quarto nível</a:t>
            </a:r>
          </a:p>
          <a:p>
            <a:pPr lvl="4"/>
            <a:r>
              <a:rPr lang="pt-BR" altLang="pt-BR"/>
              <a:t>Quinto nível</a:t>
            </a:r>
          </a:p>
        </p:txBody>
      </p:sp>
      <p:sp>
        <p:nvSpPr>
          <p:cNvPr id="1028" name="Rectangle 4">
            <a:extLst>
              <a:ext uri="{FF2B5EF4-FFF2-40B4-BE49-F238E27FC236}">
                <a16:creationId xmlns:a16="http://schemas.microsoft.com/office/drawing/2014/main" id="{FAD02814-F242-4D9E-9D48-8F1FB642295A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50"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029" name="Rectangle 5">
            <a:extLst>
              <a:ext uri="{FF2B5EF4-FFF2-40B4-BE49-F238E27FC236}">
                <a16:creationId xmlns:a16="http://schemas.microsoft.com/office/drawing/2014/main" id="{892FD2C4-A35C-4E7F-A510-B5195FBCF295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50"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A417D2E0-992E-43C1-81F8-40900B87529A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50"/>
            </a:lvl1pPr>
          </a:lstStyle>
          <a:p>
            <a:pPr>
              <a:defRPr/>
            </a:pPr>
            <a:fld id="{DBA04A99-C54B-441E-A3C8-63A2683B56E4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  <p:pic>
        <p:nvPicPr>
          <p:cNvPr id="1031" name="Picture 11">
            <a:extLst>
              <a:ext uri="{FF2B5EF4-FFF2-40B4-BE49-F238E27FC236}">
                <a16:creationId xmlns:a16="http://schemas.microsoft.com/office/drawing/2014/main" id="{D022446A-4AF5-426C-8D0C-9B95D1DFF1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0386" y="254003"/>
            <a:ext cx="2112433" cy="115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0988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8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1048096D-5E59-3412-E15F-82EBAFFB0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RU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15538A4-DCA7-5B9D-705D-B0555EEAFC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7"/>
            <a:ext cx="10515600" cy="41633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RU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6EFB739-5436-5ED5-A078-2D7D73BCAE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7527" y="6361114"/>
            <a:ext cx="6261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75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#</a:t>
            </a:r>
            <a:fld id="{6ABE0F41-4B00-4E19-B697-F9CF08D9D381}" type="slidenum">
              <a:rPr lang="en-US" b="1" smtClean="0">
                <a:solidFill>
                  <a:schemeClr val="tx1"/>
                </a:solidFill>
              </a:rPr>
              <a:pPr algn="ctr"/>
              <a:t>‹nº›</a:t>
            </a:fld>
            <a:endParaRPr lang="en-US" b="1" dirty="0">
              <a:solidFill>
                <a:schemeClr val="tx1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0E94C3B-DA97-6F55-8B1D-7B824D3A1351}"/>
              </a:ext>
            </a:extLst>
          </p:cNvPr>
          <p:cNvGrpSpPr/>
          <p:nvPr userDrawn="1"/>
        </p:nvGrpSpPr>
        <p:grpSpPr>
          <a:xfrm>
            <a:off x="1" y="2"/>
            <a:ext cx="12176820" cy="134725"/>
            <a:chOff x="7942" y="5"/>
            <a:chExt cx="6370633" cy="70485"/>
          </a:xfrm>
        </p:grpSpPr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6A0AE839-F46B-73A1-E099-117B74A65FF2}"/>
                </a:ext>
              </a:extLst>
            </p:cNvPr>
            <p:cNvSpPr/>
            <p:nvPr/>
          </p:nvSpPr>
          <p:spPr>
            <a:xfrm>
              <a:off x="7942" y="5"/>
              <a:ext cx="6370633" cy="70485"/>
            </a:xfrm>
            <a:custGeom>
              <a:avLst/>
              <a:gdLst/>
              <a:ahLst/>
              <a:cxnLst/>
              <a:rect l="l" t="t" r="r" b="b"/>
              <a:pathLst>
                <a:path w="6363335" h="70485">
                  <a:moveTo>
                    <a:pt x="6363309" y="0"/>
                  </a:moveTo>
                  <a:lnTo>
                    <a:pt x="0" y="0"/>
                  </a:lnTo>
                  <a:lnTo>
                    <a:pt x="0" y="70281"/>
                  </a:lnTo>
                  <a:lnTo>
                    <a:pt x="6363309" y="70281"/>
                  </a:lnTo>
                  <a:lnTo>
                    <a:pt x="6363309" y="0"/>
                  </a:lnTo>
                  <a:close/>
                </a:path>
              </a:pathLst>
            </a:custGeom>
            <a:solidFill>
              <a:srgbClr val="1B448D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3698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09E72C04-8930-C42A-2337-C6B4682248C0}"/>
                </a:ext>
              </a:extLst>
            </p:cNvPr>
            <p:cNvSpPr/>
            <p:nvPr/>
          </p:nvSpPr>
          <p:spPr>
            <a:xfrm>
              <a:off x="7942" y="5"/>
              <a:ext cx="3446779" cy="70485"/>
            </a:xfrm>
            <a:custGeom>
              <a:avLst/>
              <a:gdLst/>
              <a:ahLst/>
              <a:cxnLst/>
              <a:rect l="l" t="t" r="r" b="b"/>
              <a:pathLst>
                <a:path w="3446779" h="70485">
                  <a:moveTo>
                    <a:pt x="3405860" y="0"/>
                  </a:moveTo>
                  <a:lnTo>
                    <a:pt x="0" y="0"/>
                  </a:lnTo>
                  <a:lnTo>
                    <a:pt x="0" y="70281"/>
                  </a:lnTo>
                  <a:lnTo>
                    <a:pt x="3446449" y="70281"/>
                  </a:lnTo>
                  <a:lnTo>
                    <a:pt x="3405860" y="0"/>
                  </a:lnTo>
                  <a:close/>
                </a:path>
              </a:pathLst>
            </a:custGeom>
            <a:solidFill>
              <a:srgbClr val="CFFB8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3698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6902AB1A-AFF4-3E91-5BED-FE281AFA2504}"/>
                </a:ext>
              </a:extLst>
            </p:cNvPr>
            <p:cNvSpPr/>
            <p:nvPr/>
          </p:nvSpPr>
          <p:spPr>
            <a:xfrm>
              <a:off x="7942" y="5"/>
              <a:ext cx="2114550" cy="70485"/>
            </a:xfrm>
            <a:custGeom>
              <a:avLst/>
              <a:gdLst/>
              <a:ahLst/>
              <a:cxnLst/>
              <a:rect l="l" t="t" r="r" b="b"/>
              <a:pathLst>
                <a:path w="2114550" h="70485">
                  <a:moveTo>
                    <a:pt x="2073643" y="0"/>
                  </a:moveTo>
                  <a:lnTo>
                    <a:pt x="0" y="0"/>
                  </a:lnTo>
                  <a:lnTo>
                    <a:pt x="0" y="70281"/>
                  </a:lnTo>
                  <a:lnTo>
                    <a:pt x="2114245" y="70281"/>
                  </a:lnTo>
                  <a:lnTo>
                    <a:pt x="2073643" y="0"/>
                  </a:lnTo>
                  <a:close/>
                </a:path>
              </a:pathLst>
            </a:custGeom>
            <a:solidFill>
              <a:srgbClr val="87D9E6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sz="3698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24" name="object 8">
            <a:extLst>
              <a:ext uri="{FF2B5EF4-FFF2-40B4-BE49-F238E27FC236}">
                <a16:creationId xmlns:a16="http://schemas.microsoft.com/office/drawing/2014/main" id="{79288BA2-CDD3-CEF7-3E62-09591F01DD15}"/>
              </a:ext>
            </a:extLst>
          </p:cNvPr>
          <p:cNvSpPr/>
          <p:nvPr userDrawn="1"/>
        </p:nvSpPr>
        <p:spPr>
          <a:xfrm>
            <a:off x="417527" y="6190366"/>
            <a:ext cx="11356948" cy="0"/>
          </a:xfrm>
          <a:custGeom>
            <a:avLst/>
            <a:gdLst/>
            <a:ahLst/>
            <a:cxnLst/>
            <a:rect l="l" t="t" r="r" b="b"/>
            <a:pathLst>
              <a:path w="5941695">
                <a:moveTo>
                  <a:pt x="5941148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 sz="3698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13BB783-DC0B-77BB-A3DD-ABD764DAF801}"/>
              </a:ext>
            </a:extLst>
          </p:cNvPr>
          <p:cNvGrpSpPr/>
          <p:nvPr userDrawn="1"/>
        </p:nvGrpSpPr>
        <p:grpSpPr>
          <a:xfrm>
            <a:off x="10169738" y="6363175"/>
            <a:ext cx="1613797" cy="285750"/>
            <a:chOff x="351285" y="6232362"/>
            <a:chExt cx="1613797" cy="285750"/>
          </a:xfrm>
        </p:grpSpPr>
        <p:pic>
          <p:nvPicPr>
            <p:cNvPr id="4" name="Picture 5">
              <a:extLst>
                <a:ext uri="{FF2B5EF4-FFF2-40B4-BE49-F238E27FC236}">
                  <a16:creationId xmlns:a16="http://schemas.microsoft.com/office/drawing/2014/main" id="{32DA1743-44EF-FAD6-DAC7-2F5EB392F7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51285" y="6232362"/>
              <a:ext cx="285750" cy="285750"/>
            </a:xfrm>
            <a:prstGeom prst="rect">
              <a:avLst/>
            </a:prstGeom>
          </p:spPr>
        </p:pic>
        <p:pic>
          <p:nvPicPr>
            <p:cNvPr id="5" name="Picture 6">
              <a:extLst>
                <a:ext uri="{FF2B5EF4-FFF2-40B4-BE49-F238E27FC236}">
                  <a16:creationId xmlns:a16="http://schemas.microsoft.com/office/drawing/2014/main" id="{19672207-2622-F93C-2C11-42037B2420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09084" y="6290570"/>
              <a:ext cx="1255998" cy="1633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0237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  <p:sldLayoutId id="2147483999" r:id="rId9"/>
    <p:sldLayoutId id="2147484000" r:id="rId10"/>
    <p:sldLayoutId id="2147484001" r:id="rId11"/>
    <p:sldLayoutId id="2147484002" r:id="rId12"/>
    <p:sldLayoutId id="2147484003" r:id="rId13"/>
    <p:sldLayoutId id="2147484004" r:id="rId1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Arial Rounded MT Bold" panose="020F0704030504030204" pitchFamily="34" charset="77"/>
          <a:ea typeface="+mj-ea"/>
          <a:cs typeface="Arial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1BC082-ACFF-404C-8931-CC945D62630D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BFF2E1-A785-4D5E-9AA1-76D6E8BD006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5602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8" r:id="rId1"/>
    <p:sldLayoutId id="2147484019" r:id="rId2"/>
    <p:sldLayoutId id="2147484020" r:id="rId3"/>
    <p:sldLayoutId id="2147484021" r:id="rId4"/>
    <p:sldLayoutId id="2147484022" r:id="rId5"/>
    <p:sldLayoutId id="2147484023" r:id="rId6"/>
    <p:sldLayoutId id="2147484024" r:id="rId7"/>
    <p:sldLayoutId id="2147484025" r:id="rId8"/>
    <p:sldLayoutId id="2147484026" r:id="rId9"/>
    <p:sldLayoutId id="2147484027" r:id="rId10"/>
    <p:sldLayoutId id="214748402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1BC082-ACFF-404C-8931-CC945D62630D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BFF2E1-A785-4D5E-9AA1-76D6E8BD006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63254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  <p:sldLayoutId id="2147484036" r:id="rId7"/>
    <p:sldLayoutId id="2147484037" r:id="rId8"/>
    <p:sldLayoutId id="2147484038" r:id="rId9"/>
    <p:sldLayoutId id="2147484039" r:id="rId10"/>
    <p:sldLayoutId id="214748404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1BC082-ACFF-404C-8931-CC945D62630D}" type="datetimeFigureOut">
              <a:rPr lang="pt-BR" smtClean="0"/>
              <a:t>20/08/202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BFF2E1-A785-4D5E-9AA1-76D6E8BD006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17271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  <p:sldLayoutId id="2147484051" r:id="rId10"/>
    <p:sldLayoutId id="214748405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6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orcid.org/0000-0002-3625-1253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orcid.org/0000-0002-3625-1253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orcid.org/0000-0002-3625-1253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9.xml"/><Relationship Id="rId5" Type="http://schemas.openxmlformats.org/officeDocument/2006/relationships/image" Target="../media/image23.png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ickr.com/photos/brothermagneto/3802039480/" TargetMode="External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209800" y="2276873"/>
            <a:ext cx="7772400" cy="1470025"/>
          </a:xfrm>
        </p:spPr>
        <p:txBody>
          <a:bodyPr>
            <a:noAutofit/>
          </a:bodyPr>
          <a:lstStyle/>
          <a:p>
            <a:r>
              <a:rPr lang="pt-BR" sz="6000" dirty="0"/>
              <a:t>Metadado é mais do que dado! </a:t>
            </a:r>
          </a:p>
        </p:txBody>
      </p:sp>
      <p:pic>
        <p:nvPicPr>
          <p:cNvPr id="7" name="Picture 11">
            <a:extLst>
              <a:ext uri="{FF2B5EF4-FFF2-40B4-BE49-F238E27FC236}">
                <a16:creationId xmlns:a16="http://schemas.microsoft.com/office/drawing/2014/main" id="{F9B67258-3E10-4438-B0DA-BE3554F3D0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512" y="158751"/>
            <a:ext cx="1188244" cy="869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ubtítulo 2">
            <a:extLst>
              <a:ext uri="{FF2B5EF4-FFF2-40B4-BE49-F238E27FC236}">
                <a16:creationId xmlns:a16="http://schemas.microsoft.com/office/drawing/2014/main" id="{C0DE63B6-BD1D-442F-B244-97701470B6D9}"/>
              </a:ext>
            </a:extLst>
          </p:cNvPr>
          <p:cNvSpPr txBox="1">
            <a:spLocks/>
          </p:cNvSpPr>
          <p:nvPr/>
        </p:nvSpPr>
        <p:spPr>
          <a:xfrm>
            <a:off x="1451992" y="4581128"/>
            <a:ext cx="9144000" cy="1655762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b="1" dirty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alter W. Koch, </a:t>
            </a:r>
            <a:r>
              <a:rPr lang="pt-BR" b="1" dirty="0" err="1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Sc</a:t>
            </a:r>
            <a:endParaRPr lang="pt-BR" b="1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pt-BR" b="1" dirty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IIM Fellow </a:t>
            </a:r>
          </a:p>
          <a:p>
            <a:r>
              <a:rPr lang="pt-BR" b="1" dirty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sultor da I-</a:t>
            </a:r>
            <a:r>
              <a:rPr lang="pt-BR" b="1" dirty="0" err="1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are</a:t>
            </a:r>
            <a:endParaRPr lang="pt-BR" b="1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pt-BR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F8004E57-D756-0FD8-B4C9-A62EF30567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1" y="857251"/>
            <a:ext cx="6429925" cy="4928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5">
            <a:extLst>
              <a:ext uri="{FF2B5EF4-FFF2-40B4-BE49-F238E27FC236}">
                <a16:creationId xmlns:a16="http://schemas.microsoft.com/office/drawing/2014/main" id="{4C04DD76-649C-B0C2-DC01-CD5AFB765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2" y="1759070"/>
            <a:ext cx="9143999" cy="660400"/>
          </a:xfrm>
          <a:solidFill>
            <a:schemeClr val="accent6"/>
          </a:solidFill>
        </p:spPr>
        <p:txBody>
          <a:bodyPr>
            <a:noAutofit/>
          </a:bodyPr>
          <a:lstStyle/>
          <a:p>
            <a:pPr algn="ctr"/>
            <a:r>
              <a:rPr lang="en-US" sz="3600" dirty="0" err="1">
                <a:solidFill>
                  <a:schemeClr val="bg1"/>
                </a:solidFill>
                <a:ea typeface="+mj-lt"/>
                <a:cs typeface="+mj-lt"/>
              </a:rPr>
              <a:t>Automação</a:t>
            </a:r>
            <a:r>
              <a:rPr lang="en-US" sz="3600" dirty="0">
                <a:solidFill>
                  <a:schemeClr val="bg1"/>
                </a:solidFill>
                <a:ea typeface="+mj-lt"/>
                <a:cs typeface="+mj-lt"/>
              </a:rPr>
              <a:t> da </a:t>
            </a:r>
            <a:r>
              <a:rPr lang="en-US" sz="3600" dirty="0" err="1">
                <a:solidFill>
                  <a:schemeClr val="bg1"/>
                </a:solidFill>
                <a:ea typeface="+mj-lt"/>
                <a:cs typeface="+mj-lt"/>
              </a:rPr>
              <a:t>classificação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657183-3FC1-55B3-9289-CAF09B056D1C}"/>
              </a:ext>
            </a:extLst>
          </p:cNvPr>
          <p:cNvSpPr txBox="1"/>
          <p:nvPr/>
        </p:nvSpPr>
        <p:spPr>
          <a:xfrm>
            <a:off x="8217695" y="1124420"/>
            <a:ext cx="2232055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 fontAlgn="base">
              <a:defRPr/>
            </a:pPr>
            <a:r>
              <a:rPr lang="en-US" sz="1350">
                <a:solidFill>
                  <a:srgbClr val="000000"/>
                </a:solidFill>
                <a:latin typeface="Calibri" panose="020F0502020204030204" pitchFamily="34" charset="0"/>
              </a:rPr>
              <a:t>Vincent Van Gogh, ​</a:t>
            </a:r>
            <a:endParaRPr lang="en-US" sz="135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defTabSz="685800" fontAlgn="base">
              <a:defRPr/>
            </a:pPr>
            <a:r>
              <a:rPr lang="en-US" sz="1350" i="1">
                <a:solidFill>
                  <a:srgbClr val="000000"/>
                </a:solidFill>
                <a:latin typeface="Calibri" panose="020F0502020204030204" pitchFamily="34" charset="0"/>
              </a:rPr>
              <a:t>The Outskirts of Paris, </a:t>
            </a:r>
            <a:r>
              <a:rPr lang="en-US" sz="1350">
                <a:solidFill>
                  <a:srgbClr val="000000"/>
                </a:solidFill>
                <a:latin typeface="Calibri" panose="020F0502020204030204" pitchFamily="34" charset="0"/>
              </a:rPr>
              <a:t>1886</a:t>
            </a:r>
            <a:endParaRPr lang="en-US" sz="135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98638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8B10F9-B41E-47A5-903F-8423ECD02EA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157047" y="188640"/>
            <a:ext cx="6733351" cy="1125140"/>
          </a:xfrm>
        </p:spPr>
        <p:txBody>
          <a:bodyPr>
            <a:normAutofit/>
          </a:bodyPr>
          <a:lstStyle/>
          <a:p>
            <a:r>
              <a:rPr lang="en-US" dirty="0" err="1">
                <a:solidFill>
                  <a:srgbClr val="010000"/>
                </a:solidFill>
                <a:latin typeface="Arial Rounded MT Bold"/>
              </a:rPr>
              <a:t>Automação</a:t>
            </a:r>
            <a:r>
              <a:rPr lang="en-US" dirty="0">
                <a:solidFill>
                  <a:srgbClr val="010000"/>
                </a:solidFill>
                <a:latin typeface="Arial Rounded MT Bold"/>
              </a:rPr>
              <a:t> da </a:t>
            </a:r>
            <a:r>
              <a:rPr lang="en-US" dirty="0" err="1">
                <a:solidFill>
                  <a:srgbClr val="010000"/>
                </a:solidFill>
                <a:latin typeface="Arial Rounded MT Bold"/>
              </a:rPr>
              <a:t>classificação</a:t>
            </a:r>
            <a:endParaRPr lang="en-US" dirty="0">
              <a:solidFill>
                <a:srgbClr val="010000"/>
              </a:solidFill>
              <a:latin typeface="Arial Rounded MT Bold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6255B5-8AF2-D59C-10AF-C9A215CF44AC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2063552" y="1510811"/>
            <a:ext cx="8446264" cy="6167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000" b="1" dirty="0" err="1">
                <a:solidFill>
                  <a:srgbClr val="284389"/>
                </a:solidFill>
                <a:latin typeface="Arial"/>
                <a:cs typeface="Arial"/>
              </a:rPr>
              <a:t>Automatiza</a:t>
            </a:r>
            <a:r>
              <a:rPr lang="en-GB" sz="2000" b="1" dirty="0">
                <a:solidFill>
                  <a:srgbClr val="284389"/>
                </a:solidFill>
                <a:latin typeface="Arial"/>
                <a:cs typeface="Arial"/>
              </a:rPr>
              <a:t> a </a:t>
            </a:r>
            <a:r>
              <a:rPr lang="en-GB" sz="2000" b="1" dirty="0" err="1">
                <a:solidFill>
                  <a:srgbClr val="284389"/>
                </a:solidFill>
                <a:latin typeface="Arial"/>
                <a:cs typeface="Arial"/>
              </a:rPr>
              <a:t>identificação</a:t>
            </a:r>
            <a:r>
              <a:rPr lang="en-GB" sz="2000" b="1" dirty="0">
                <a:solidFill>
                  <a:srgbClr val="284389"/>
                </a:solidFill>
                <a:latin typeface="Arial"/>
                <a:cs typeface="Arial"/>
              </a:rPr>
              <a:t> e </a:t>
            </a:r>
            <a:r>
              <a:rPr lang="en-GB" sz="2000" b="1" dirty="0" err="1">
                <a:solidFill>
                  <a:srgbClr val="284389"/>
                </a:solidFill>
                <a:latin typeface="Arial"/>
                <a:cs typeface="Arial"/>
              </a:rPr>
              <a:t>classificação</a:t>
            </a:r>
            <a:r>
              <a:rPr lang="en-GB" sz="2000" b="1" dirty="0">
                <a:solidFill>
                  <a:srgbClr val="284389"/>
                </a:solidFill>
                <a:latin typeface="Arial"/>
                <a:cs typeface="Arial"/>
              </a:rPr>
              <a:t> de </a:t>
            </a:r>
            <a:r>
              <a:rPr lang="en-GB" sz="2000" b="1" dirty="0" err="1">
                <a:solidFill>
                  <a:srgbClr val="284389"/>
                </a:solidFill>
                <a:latin typeface="Arial"/>
                <a:cs typeface="Arial"/>
              </a:rPr>
              <a:t>informações</a:t>
            </a:r>
            <a:r>
              <a:rPr lang="en-GB" sz="2000" b="1" dirty="0">
                <a:solidFill>
                  <a:srgbClr val="284389"/>
                </a:solidFill>
                <a:latin typeface="Arial"/>
                <a:cs typeface="Arial"/>
              </a:rPr>
              <a:t> </a:t>
            </a:r>
            <a:r>
              <a:rPr lang="en-GB" sz="2000" b="1" dirty="0" err="1">
                <a:solidFill>
                  <a:srgbClr val="284389"/>
                </a:solidFill>
                <a:latin typeface="Arial"/>
                <a:cs typeface="Arial"/>
              </a:rPr>
              <a:t>valiosas</a:t>
            </a:r>
            <a:endParaRPr lang="en-US" sz="2000" b="1" dirty="0">
              <a:solidFill>
                <a:srgbClr val="284389"/>
              </a:solidFill>
              <a:latin typeface="Arial"/>
              <a:cs typeface="Arial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8535D0C-4C2F-132B-6B0F-8549B0C21EEF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2157046" y="2545556"/>
            <a:ext cx="3002850" cy="2506266"/>
          </a:xfrm>
        </p:spPr>
        <p:txBody>
          <a:bodyPr vert="horz" lIns="34290" tIns="34290" rIns="34290" bIns="34290" rtlCol="0" anchor="t">
            <a:noAutofit/>
          </a:bodyPr>
          <a:lstStyle/>
          <a:p>
            <a:pPr marL="0" indent="0">
              <a:buNone/>
            </a:pPr>
            <a:r>
              <a:rPr lang="en-GB" sz="2000" dirty="0" err="1">
                <a:solidFill>
                  <a:srgbClr val="010000"/>
                </a:solidFill>
                <a:latin typeface="Arial"/>
                <a:cs typeface="Arial"/>
              </a:rPr>
              <a:t>Automatiza</a:t>
            </a:r>
            <a:r>
              <a:rPr lang="en-GB" sz="2000" dirty="0">
                <a:solidFill>
                  <a:srgbClr val="010000"/>
                </a:solidFill>
                <a:latin typeface="Arial"/>
                <a:cs typeface="Arial"/>
              </a:rPr>
              <a:t> a </a:t>
            </a:r>
            <a:r>
              <a:rPr lang="en-GB" sz="2000" dirty="0" err="1">
                <a:solidFill>
                  <a:srgbClr val="010000"/>
                </a:solidFill>
                <a:latin typeface="Arial"/>
                <a:cs typeface="Arial"/>
              </a:rPr>
              <a:t>classificação</a:t>
            </a:r>
            <a:r>
              <a:rPr lang="en-GB" sz="2000" dirty="0">
                <a:solidFill>
                  <a:srgbClr val="010000"/>
                </a:solidFill>
                <a:latin typeface="Arial"/>
                <a:cs typeface="Arial"/>
              </a:rPr>
              <a:t> </a:t>
            </a:r>
            <a:r>
              <a:rPr lang="en-GB" sz="2000" dirty="0" err="1">
                <a:solidFill>
                  <a:srgbClr val="010000"/>
                </a:solidFill>
                <a:latin typeface="Arial"/>
                <a:cs typeface="Arial"/>
              </a:rPr>
              <a:t>baseado</a:t>
            </a:r>
            <a:r>
              <a:rPr lang="en-GB" sz="2000" dirty="0">
                <a:solidFill>
                  <a:srgbClr val="010000"/>
                </a:solidFill>
                <a:latin typeface="Arial"/>
                <a:cs typeface="Arial"/>
              </a:rPr>
              <a:t> no:</a:t>
            </a:r>
            <a:endParaRPr lang="en-GB" sz="2000" dirty="0">
              <a:solidFill>
                <a:srgbClr val="010000"/>
              </a:solidFill>
              <a:latin typeface="Arial"/>
              <a:ea typeface="+mn-lt"/>
              <a:cs typeface="Arial"/>
            </a:endParaRPr>
          </a:p>
          <a:p>
            <a:pPr marL="310039" lvl="1" indent="-214313"/>
            <a:r>
              <a:rPr lang="en-GB" sz="2000" dirty="0" err="1">
                <a:solidFill>
                  <a:srgbClr val="010000"/>
                </a:solidFill>
                <a:latin typeface="Arial"/>
                <a:ea typeface="+mn-lt"/>
                <a:cs typeface="Arial"/>
              </a:rPr>
              <a:t>Conteúdo</a:t>
            </a:r>
            <a:endParaRPr lang="en-GB" sz="2000" dirty="0">
              <a:solidFill>
                <a:srgbClr val="010000"/>
              </a:solidFill>
              <a:latin typeface="Arial"/>
              <a:ea typeface="+mn-lt"/>
              <a:cs typeface="Arial"/>
            </a:endParaRPr>
          </a:p>
          <a:p>
            <a:pPr marL="310039" lvl="1" indent="-214313"/>
            <a:r>
              <a:rPr lang="en-GB" sz="2000" dirty="0">
                <a:solidFill>
                  <a:srgbClr val="010000"/>
                </a:solidFill>
                <a:latin typeface="Arial"/>
                <a:ea typeface="+mn-lt"/>
                <a:cs typeface="Arial"/>
              </a:rPr>
              <a:t>Template</a:t>
            </a:r>
          </a:p>
          <a:p>
            <a:pPr marL="310039" lvl="1" indent="-214313"/>
            <a:r>
              <a:rPr lang="en-GB" sz="2000" dirty="0">
                <a:solidFill>
                  <a:srgbClr val="010000"/>
                </a:solidFill>
                <a:latin typeface="Arial"/>
                <a:ea typeface="+mn-lt"/>
                <a:cs typeface="Arial"/>
              </a:rPr>
              <a:t>Local de </a:t>
            </a:r>
            <a:r>
              <a:rPr lang="en-GB" sz="2000" dirty="0" err="1">
                <a:solidFill>
                  <a:srgbClr val="010000"/>
                </a:solidFill>
                <a:latin typeface="Arial"/>
                <a:ea typeface="+mn-lt"/>
                <a:cs typeface="Arial"/>
              </a:rPr>
              <a:t>armazenamento</a:t>
            </a:r>
            <a:endParaRPr lang="en-GB" sz="2000" dirty="0">
              <a:solidFill>
                <a:srgbClr val="010000"/>
              </a:solidFill>
              <a:latin typeface="Arial"/>
              <a:cs typeface="Arial"/>
            </a:endParaRPr>
          </a:p>
          <a:p>
            <a:pPr marL="310039" lvl="1" indent="-214313"/>
            <a:r>
              <a:rPr lang="en-GB" sz="2000" dirty="0">
                <a:solidFill>
                  <a:srgbClr val="010000"/>
                </a:solidFill>
                <a:latin typeface="Arial"/>
                <a:ea typeface="+mn-lt"/>
                <a:cs typeface="Arial"/>
              </a:rPr>
              <a:t>Workflow</a:t>
            </a:r>
          </a:p>
          <a:p>
            <a:pPr marL="310039" lvl="1" indent="-214313"/>
            <a:r>
              <a:rPr lang="en-GB" sz="2000" dirty="0" err="1">
                <a:solidFill>
                  <a:srgbClr val="010000"/>
                </a:solidFill>
                <a:latin typeface="Arial"/>
                <a:ea typeface="+mn-lt"/>
                <a:cs typeface="Arial"/>
              </a:rPr>
              <a:t>Remetente</a:t>
            </a:r>
            <a:endParaRPr lang="en-GB" sz="2000" dirty="0">
              <a:solidFill>
                <a:srgbClr val="010000"/>
              </a:solidFill>
              <a:latin typeface="Arial"/>
              <a:ea typeface="+mn-lt"/>
              <a:cs typeface="Arial"/>
            </a:endParaRPr>
          </a:p>
          <a:p>
            <a:pPr marL="310039" lvl="1" indent="-214313"/>
            <a:r>
              <a:rPr lang="en-GB" sz="2000" dirty="0" err="1">
                <a:solidFill>
                  <a:srgbClr val="010000"/>
                </a:solidFill>
                <a:latin typeface="Arial"/>
                <a:ea typeface="+mn-lt"/>
                <a:cs typeface="Arial"/>
              </a:rPr>
              <a:t>Criador</a:t>
            </a:r>
            <a:endParaRPr lang="en-GB" sz="2000" dirty="0">
              <a:solidFill>
                <a:srgbClr val="010000"/>
              </a:solidFill>
              <a:latin typeface="Arial"/>
              <a:cs typeface="Arial"/>
            </a:endParaRPr>
          </a:p>
          <a:p>
            <a:pPr marL="310039" lvl="1" indent="-214313"/>
            <a:r>
              <a:rPr lang="en-GB" sz="2000" dirty="0">
                <a:solidFill>
                  <a:srgbClr val="010000"/>
                </a:solidFill>
                <a:latin typeface="Arial"/>
                <a:ea typeface="+mn-lt"/>
                <a:cs typeface="Arial"/>
              </a:rPr>
              <a:t>Receptor</a:t>
            </a:r>
          </a:p>
          <a:p>
            <a:pPr marL="310039" lvl="1" indent="-214313"/>
            <a:r>
              <a:rPr lang="en-GB" sz="2000" dirty="0" err="1">
                <a:solidFill>
                  <a:srgbClr val="010000"/>
                </a:solidFill>
                <a:latin typeface="Arial"/>
                <a:ea typeface="+mn-lt"/>
                <a:cs typeface="Arial"/>
              </a:rPr>
              <a:t>Histórico</a:t>
            </a:r>
            <a:endParaRPr lang="en-GB" sz="2000" dirty="0">
              <a:solidFill>
                <a:srgbClr val="010000"/>
              </a:solidFill>
              <a:latin typeface="Arial"/>
              <a:ea typeface="+mn-lt"/>
              <a:cs typeface="Arial"/>
            </a:endParaRPr>
          </a:p>
          <a:p>
            <a:pPr marL="68580" indent="-68580"/>
            <a:endParaRPr lang="en-GB" sz="2000" b="1" dirty="0">
              <a:solidFill>
                <a:srgbClr val="01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DC80BFB-B0C6-1CF9-F822-3B4FBF93BD29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5447928" y="2512218"/>
            <a:ext cx="5155382" cy="3365054"/>
          </a:xfrm>
        </p:spPr>
        <p:txBody>
          <a:bodyPr vert="horz" lIns="34290" tIns="34290" rIns="34290" bIns="34290" rtlCol="0" anchor="t">
            <a:noAutofit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Para que a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classificação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automática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funcione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,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primeiro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precisa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ser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identificado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o que se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quer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classificar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. </a:t>
            </a:r>
            <a:endParaRPr lang="en-US" sz="2000" dirty="0">
              <a:solidFill>
                <a:srgbClr val="FFFFFF"/>
              </a:solidFill>
              <a:latin typeface="Arial"/>
              <a:cs typeface="Calibri"/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Isto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pode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ser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feito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com o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engajamento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do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negócio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nos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sprints para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identificar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as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informações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importantes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por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processo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ou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obter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visões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através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do </a:t>
            </a:r>
            <a:r>
              <a:rPr lang="en-GB" sz="2000" dirty="0" err="1">
                <a:solidFill>
                  <a:srgbClr val="000000"/>
                </a:solidFill>
                <a:latin typeface="Arial"/>
                <a:cs typeface="Calibri"/>
              </a:rPr>
              <a:t>rotulamento</a:t>
            </a:r>
            <a:r>
              <a:rPr lang="en-GB" sz="2000" dirty="0">
                <a:solidFill>
                  <a:srgbClr val="000000"/>
                </a:solidFill>
                <a:latin typeface="Arial"/>
                <a:cs typeface="Calibri"/>
              </a:rPr>
              <a:t> manual.  </a:t>
            </a:r>
            <a:endParaRPr lang="en-US" sz="20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68333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B1353E-5732-4F27-90DD-E596A223738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83632" y="467722"/>
            <a:ext cx="8660606" cy="1125140"/>
          </a:xfrm>
        </p:spPr>
        <p:txBody>
          <a:bodyPr>
            <a:normAutofit/>
          </a:bodyPr>
          <a:lstStyle/>
          <a:p>
            <a:r>
              <a:rPr lang="en-GB" sz="4000" dirty="0">
                <a:solidFill>
                  <a:srgbClr val="010000"/>
                </a:solidFill>
                <a:latin typeface="Arial Rounded MT Bold"/>
              </a:rPr>
              <a:t>Automatize </a:t>
            </a:r>
            <a:r>
              <a:rPr lang="en-GB" sz="4000" dirty="0" err="1">
                <a:solidFill>
                  <a:srgbClr val="010000"/>
                </a:solidFill>
                <a:latin typeface="Arial Rounded MT Bold"/>
              </a:rPr>
              <a:t>classificação</a:t>
            </a:r>
            <a:endParaRPr lang="en-GB" sz="4000" dirty="0">
              <a:solidFill>
                <a:srgbClr val="010000"/>
              </a:solidFill>
              <a:latin typeface="Arial Rounded MT Bold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731DD0C7-0E99-8F0C-0FA5-CE175BD0CE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21796208"/>
              </p:ext>
            </p:extLst>
          </p:nvPr>
        </p:nvGraphicFramePr>
        <p:xfrm>
          <a:off x="1524001" y="1702548"/>
          <a:ext cx="5133143" cy="39963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6ED4265F-89A1-4F6C-5FD8-8368FBC23F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96030220"/>
              </p:ext>
            </p:extLst>
          </p:nvPr>
        </p:nvGraphicFramePr>
        <p:xfrm>
          <a:off x="5519937" y="1702549"/>
          <a:ext cx="5544616" cy="39963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2717488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CDB8634-70AE-4AFB-9281-6DCFEF3628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DB6C1FA-6077-4B3A-8D80-D0242BF1AB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5F5B4077-8FEC-4ED5-9A8B-9E945CC262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858505"/>
            <a:ext cx="9144000" cy="5140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5929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AD212A0-5EBB-4E84-AD52-4EE37F7C2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3552" y="332656"/>
            <a:ext cx="8229600" cy="1143000"/>
          </a:xfrm>
        </p:spPr>
        <p:txBody>
          <a:bodyPr/>
          <a:lstStyle/>
          <a:p>
            <a:r>
              <a:rPr lang="pt-BR" dirty="0"/>
              <a:t>IA e metadados</a:t>
            </a:r>
            <a:endParaRPr lang="en-US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F7D8C7B-2EFC-4159-BA29-43183C03B3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Dublin Core</a:t>
            </a:r>
          </a:p>
          <a:p>
            <a:r>
              <a:rPr lang="pt-BR" dirty="0"/>
              <a:t>ISO 23081-1:2017 - Informação e documentação - Processos de gestão de documentos de arquivo - Metadados para documentos de arquivo</a:t>
            </a:r>
            <a:endParaRPr lang="en-US" dirty="0"/>
          </a:p>
        </p:txBody>
      </p:sp>
      <p:pic>
        <p:nvPicPr>
          <p:cNvPr id="5" name="Picture 11">
            <a:extLst>
              <a:ext uri="{FF2B5EF4-FFF2-40B4-BE49-F238E27FC236}">
                <a16:creationId xmlns:a16="http://schemas.microsoft.com/office/drawing/2014/main" id="{58988E4E-7892-4E22-8CBD-481BAF380F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512" y="158751"/>
            <a:ext cx="1188244" cy="869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53362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AD212A0-5EBB-4E84-AD52-4EE37F7C2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8400" y="239433"/>
            <a:ext cx="8229600" cy="1143000"/>
          </a:xfrm>
        </p:spPr>
        <p:txBody>
          <a:bodyPr/>
          <a:lstStyle/>
          <a:p>
            <a:r>
              <a:rPr lang="pt-BR" dirty="0"/>
              <a:t>Metadados críticos</a:t>
            </a:r>
            <a:endParaRPr lang="en-US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F7D8C7B-2EFC-4159-BA29-43183C03B3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81200" y="1611034"/>
            <a:ext cx="8229600" cy="4525963"/>
          </a:xfrm>
        </p:spPr>
        <p:txBody>
          <a:bodyPr>
            <a:normAutofit lnSpcReduction="10000"/>
          </a:bodyPr>
          <a:lstStyle/>
          <a:p>
            <a:r>
              <a:rPr lang="pt-BR" dirty="0"/>
              <a:t>Dublin Core</a:t>
            </a:r>
          </a:p>
          <a:p>
            <a:pPr lvl="1"/>
            <a:r>
              <a:rPr lang="pt-BR" dirty="0"/>
              <a:t>Artigo </a:t>
            </a:r>
            <a:r>
              <a:rPr lang="pt-BR" dirty="0" err="1"/>
              <a:t>Metadata</a:t>
            </a:r>
            <a:r>
              <a:rPr lang="pt-BR" dirty="0"/>
              <a:t> as a site for </a:t>
            </a:r>
            <a:r>
              <a:rPr lang="pt-BR" dirty="0" err="1"/>
              <a:t>critical</a:t>
            </a:r>
            <a:r>
              <a:rPr lang="pt-BR" dirty="0"/>
              <a:t> </a:t>
            </a:r>
            <a:r>
              <a:rPr lang="pt-BR" dirty="0" err="1"/>
              <a:t>inquiry</a:t>
            </a:r>
            <a:r>
              <a:rPr lang="pt-BR" dirty="0"/>
              <a:t> – Karen M. </a:t>
            </a:r>
            <a:r>
              <a:rPr lang="pt-BR" dirty="0" err="1"/>
              <a:t>Wickett</a:t>
            </a:r>
            <a:endParaRPr lang="pt-BR" dirty="0"/>
          </a:p>
          <a:p>
            <a:pPr lvl="1"/>
            <a:r>
              <a:rPr lang="pt-BR" dirty="0"/>
              <a:t>Modelagem de metadados críticos</a:t>
            </a:r>
          </a:p>
          <a:p>
            <a:r>
              <a:rPr lang="en-US" dirty="0" err="1"/>
              <a:t>Metadados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força</a:t>
            </a:r>
            <a:r>
              <a:rPr lang="en-US" dirty="0"/>
              <a:t> </a:t>
            </a:r>
            <a:r>
              <a:rPr lang="en-US" dirty="0" err="1"/>
              <a:t>narrativa</a:t>
            </a:r>
            <a:r>
              <a:rPr lang="en-US" dirty="0"/>
              <a:t>.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metadados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um </a:t>
            </a:r>
            <a:r>
              <a:rPr lang="en-US" dirty="0" err="1"/>
              <a:t>objeto</a:t>
            </a:r>
            <a:r>
              <a:rPr lang="en-US" dirty="0"/>
              <a:t> </a:t>
            </a:r>
            <a:r>
              <a:rPr lang="en-US" dirty="0" err="1"/>
              <a:t>contam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história</a:t>
            </a:r>
            <a:r>
              <a:rPr lang="en-US" dirty="0"/>
              <a:t> e </a:t>
            </a:r>
            <a:r>
              <a:rPr lang="en-US" dirty="0" err="1"/>
              <a:t>portanto</a:t>
            </a:r>
            <a:r>
              <a:rPr lang="en-US" dirty="0"/>
              <a:t> </a:t>
            </a:r>
            <a:r>
              <a:rPr lang="en-US" dirty="0" err="1"/>
              <a:t>contribuem</a:t>
            </a:r>
            <a:r>
              <a:rPr lang="en-US" dirty="0"/>
              <a:t> </a:t>
            </a:r>
            <a:r>
              <a:rPr lang="en-US" dirty="0" err="1"/>
              <a:t>substancialmente</a:t>
            </a:r>
            <a:r>
              <a:rPr lang="en-US" dirty="0"/>
              <a:t> </a:t>
            </a:r>
            <a:r>
              <a:rPr lang="en-US" dirty="0" err="1"/>
              <a:t>ao</a:t>
            </a:r>
            <a:r>
              <a:rPr lang="en-US" dirty="0"/>
              <a:t> “</a:t>
            </a:r>
            <a:r>
              <a:rPr lang="en-US" dirty="0" err="1"/>
              <a:t>acreditar</a:t>
            </a:r>
            <a:r>
              <a:rPr lang="en-US" dirty="0"/>
              <a:t> e </a:t>
            </a:r>
            <a:r>
              <a:rPr lang="en-US" dirty="0" err="1"/>
              <a:t>pertencer</a:t>
            </a:r>
            <a:r>
              <a:rPr lang="en-US" dirty="0"/>
              <a:t>” (McDowell, 2022)</a:t>
            </a:r>
            <a:endParaRPr lang="pt-BR" dirty="0"/>
          </a:p>
          <a:p>
            <a:endParaRPr lang="pt-BR" dirty="0"/>
          </a:p>
        </p:txBody>
      </p:sp>
      <p:pic>
        <p:nvPicPr>
          <p:cNvPr id="5" name="Picture 11">
            <a:extLst>
              <a:ext uri="{FF2B5EF4-FFF2-40B4-BE49-F238E27FC236}">
                <a16:creationId xmlns:a16="http://schemas.microsoft.com/office/drawing/2014/main" id="{58988E4E-7892-4E22-8CBD-481BAF380F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512" y="158751"/>
            <a:ext cx="1188244" cy="869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utoShape 2">
            <a:hlinkClick r:id="rId3"/>
            <a:extLst>
              <a:ext uri="{FF2B5EF4-FFF2-40B4-BE49-F238E27FC236}">
                <a16:creationId xmlns:a16="http://schemas.microsoft.com/office/drawing/2014/main" id="{2BA80E90-4BBE-4828-A7C3-7E62BF154F7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949575" y="-43142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204249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AD212A0-5EBB-4E84-AD52-4EE37F7C2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8400" y="239433"/>
            <a:ext cx="8229600" cy="1143000"/>
          </a:xfrm>
        </p:spPr>
        <p:txBody>
          <a:bodyPr/>
          <a:lstStyle/>
          <a:p>
            <a:r>
              <a:rPr lang="pt-BR" dirty="0"/>
              <a:t>Metadados críticos</a:t>
            </a:r>
            <a:endParaRPr lang="en-US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F7D8C7B-2EFC-4159-BA29-43183C03B3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81200" y="1611034"/>
            <a:ext cx="8229600" cy="4525963"/>
          </a:xfrm>
        </p:spPr>
        <p:txBody>
          <a:bodyPr/>
          <a:lstStyle/>
          <a:p>
            <a:r>
              <a:rPr lang="en-US" dirty="0"/>
              <a:t>Um </a:t>
            </a:r>
            <a:r>
              <a:rPr lang="en-US" dirty="0" err="1"/>
              <a:t>exemplo</a:t>
            </a:r>
            <a:r>
              <a:rPr lang="en-US" dirty="0"/>
              <a:t>: </a:t>
            </a:r>
            <a:r>
              <a:rPr lang="en-US" dirty="0" err="1"/>
              <a:t>como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modelos</a:t>
            </a:r>
            <a:r>
              <a:rPr lang="en-US" dirty="0"/>
              <a:t> de </a:t>
            </a:r>
            <a:r>
              <a:rPr lang="en-US" dirty="0" err="1"/>
              <a:t>metadados</a:t>
            </a:r>
            <a:r>
              <a:rPr lang="en-US" dirty="0"/>
              <a:t> </a:t>
            </a:r>
            <a:r>
              <a:rPr lang="en-US" dirty="0" err="1"/>
              <a:t>suportam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 </a:t>
            </a:r>
            <a:r>
              <a:rPr lang="en-US" dirty="0" err="1"/>
              <a:t>relacionamentos</a:t>
            </a:r>
            <a:r>
              <a:rPr lang="en-US" dirty="0"/>
              <a:t> </a:t>
            </a:r>
            <a:endParaRPr lang="pt-BR" dirty="0"/>
          </a:p>
          <a:p>
            <a:r>
              <a:rPr lang="pt-BR" dirty="0"/>
              <a:t>Uso e reuso da informação</a:t>
            </a:r>
          </a:p>
          <a:p>
            <a:r>
              <a:rPr lang="pt-BR" dirty="0"/>
              <a:t>Gestão do conhecimento</a:t>
            </a:r>
          </a:p>
          <a:p>
            <a:r>
              <a:rPr lang="pt-BR" dirty="0"/>
              <a:t>Pesquisa e desenvolvimento</a:t>
            </a:r>
          </a:p>
          <a:p>
            <a:endParaRPr lang="pt-BR" dirty="0"/>
          </a:p>
        </p:txBody>
      </p:sp>
      <p:pic>
        <p:nvPicPr>
          <p:cNvPr id="5" name="Picture 11">
            <a:extLst>
              <a:ext uri="{FF2B5EF4-FFF2-40B4-BE49-F238E27FC236}">
                <a16:creationId xmlns:a16="http://schemas.microsoft.com/office/drawing/2014/main" id="{58988E4E-7892-4E22-8CBD-481BAF380F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512" y="158751"/>
            <a:ext cx="1188244" cy="869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utoShape 2">
            <a:hlinkClick r:id="rId3"/>
            <a:extLst>
              <a:ext uri="{FF2B5EF4-FFF2-40B4-BE49-F238E27FC236}">
                <a16:creationId xmlns:a16="http://schemas.microsoft.com/office/drawing/2014/main" id="{2BA80E90-4BBE-4828-A7C3-7E62BF154F7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949575" y="-43142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055560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AD212A0-5EBB-4E84-AD52-4EE37F7C2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8400" y="239433"/>
            <a:ext cx="8229600" cy="1143000"/>
          </a:xfrm>
        </p:spPr>
        <p:txBody>
          <a:bodyPr/>
          <a:lstStyle/>
          <a:p>
            <a:r>
              <a:rPr lang="pt-BR" dirty="0"/>
              <a:t>Metadados críticos</a:t>
            </a:r>
            <a:endParaRPr lang="en-US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F7D8C7B-2EFC-4159-BA29-43183C03B3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81200" y="1611034"/>
            <a:ext cx="8229600" cy="4525963"/>
          </a:xfrm>
        </p:spPr>
        <p:txBody>
          <a:bodyPr/>
          <a:lstStyle/>
          <a:p>
            <a:r>
              <a:rPr lang="pt-BR" dirty="0"/>
              <a:t>Principais considerações</a:t>
            </a:r>
          </a:p>
          <a:p>
            <a:pPr lvl="1"/>
            <a:r>
              <a:rPr lang="pt-BR" dirty="0"/>
              <a:t>Ter especialistas em ciência da informação – classificação e modelos de metadados</a:t>
            </a:r>
          </a:p>
          <a:p>
            <a:pPr lvl="1"/>
            <a:r>
              <a:rPr lang="pt-BR" dirty="0"/>
              <a:t>Definir o objetivo estratégico </a:t>
            </a:r>
          </a:p>
          <a:p>
            <a:pPr lvl="1"/>
            <a:r>
              <a:rPr lang="pt-BR" dirty="0"/>
              <a:t>Usar IA para a higienização do acervo</a:t>
            </a:r>
          </a:p>
          <a:p>
            <a:pPr lvl="1"/>
            <a:r>
              <a:rPr lang="pt-BR" dirty="0"/>
              <a:t>Usar IA para extrair os metadados</a:t>
            </a:r>
          </a:p>
          <a:p>
            <a:pPr lvl="1"/>
            <a:r>
              <a:rPr lang="pt-BR" dirty="0"/>
              <a:t>Ter governança atuante nos metadados</a:t>
            </a:r>
          </a:p>
          <a:p>
            <a:pPr lvl="1"/>
            <a:r>
              <a:rPr lang="pt-BR" dirty="0"/>
              <a:t>Acompanhar a evolução sistêmica</a:t>
            </a:r>
          </a:p>
          <a:p>
            <a:pPr lvl="1"/>
            <a:endParaRPr lang="pt-BR" dirty="0"/>
          </a:p>
          <a:p>
            <a:endParaRPr lang="pt-BR" dirty="0"/>
          </a:p>
        </p:txBody>
      </p:sp>
      <p:pic>
        <p:nvPicPr>
          <p:cNvPr id="5" name="Picture 11">
            <a:extLst>
              <a:ext uri="{FF2B5EF4-FFF2-40B4-BE49-F238E27FC236}">
                <a16:creationId xmlns:a16="http://schemas.microsoft.com/office/drawing/2014/main" id="{58988E4E-7892-4E22-8CBD-481BAF380F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512" y="158751"/>
            <a:ext cx="1188244" cy="869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utoShape 2">
            <a:hlinkClick r:id="rId3"/>
            <a:extLst>
              <a:ext uri="{FF2B5EF4-FFF2-40B4-BE49-F238E27FC236}">
                <a16:creationId xmlns:a16="http://schemas.microsoft.com/office/drawing/2014/main" id="{2BA80E90-4BBE-4828-A7C3-7E62BF154F7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949575" y="-43142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3347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2A958D8-A106-40F1-B30F-6F80F9CF47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C2160E1-5904-43A1-91B3-D1B6C7F8FF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B143AB0F-180D-41EF-8B7E-4F354D8AC2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6" name="Picture 2" descr="http://espiralinterativa.com/wp-content/uploads/twitter.jpg">
            <a:extLst>
              <a:ext uri="{FF2B5EF4-FFF2-40B4-BE49-F238E27FC236}">
                <a16:creationId xmlns:a16="http://schemas.microsoft.com/office/drawing/2014/main" id="{D4506DC2-E7B7-4B3C-98B3-8E0C6D8DF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1430" y="4595933"/>
            <a:ext cx="1367314" cy="79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http://www.saiadolugar.com.br/arquivos/2011/05/linkedin-logo.png">
            <a:extLst>
              <a:ext uri="{FF2B5EF4-FFF2-40B4-BE49-F238E27FC236}">
                <a16:creationId xmlns:a16="http://schemas.microsoft.com/office/drawing/2014/main" id="{7E5BEC17-F578-4B1E-B395-57AF8BD47C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4644152"/>
            <a:ext cx="2436734" cy="687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1">
            <a:extLst>
              <a:ext uri="{FF2B5EF4-FFF2-40B4-BE49-F238E27FC236}">
                <a16:creationId xmlns:a16="http://schemas.microsoft.com/office/drawing/2014/main" id="{AF56AA33-26B9-4B04-91E6-FC96C06B5C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4352" y="260648"/>
            <a:ext cx="1188244" cy="869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B4D31071-B0AD-4962-90B2-36FBCC6BB1C2}"/>
              </a:ext>
            </a:extLst>
          </p:cNvPr>
          <p:cNvSpPr txBox="1"/>
          <p:nvPr/>
        </p:nvSpPr>
        <p:spPr>
          <a:xfrm>
            <a:off x="3027237" y="1918842"/>
            <a:ext cx="6439713" cy="21236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4400" dirty="0" err="1"/>
              <a:t>Thank</a:t>
            </a:r>
            <a:r>
              <a:rPr lang="pt-BR" sz="4400" dirty="0"/>
              <a:t> </a:t>
            </a:r>
            <a:r>
              <a:rPr lang="pt-BR" sz="4400" dirty="0" err="1"/>
              <a:t>you</a:t>
            </a:r>
            <a:r>
              <a:rPr lang="pt-BR" sz="4400" dirty="0"/>
              <a:t>!</a:t>
            </a:r>
          </a:p>
          <a:p>
            <a:pPr algn="ctr"/>
            <a:r>
              <a:rPr lang="pt-BR" sz="4400" dirty="0"/>
              <a:t>Walter Koch</a:t>
            </a:r>
          </a:p>
          <a:p>
            <a:pPr algn="ctr"/>
            <a:r>
              <a:rPr lang="pt-BR" sz="4400"/>
              <a:t>walter@</a:t>
            </a:r>
            <a:r>
              <a:rPr lang="pt-BR" sz="4400" dirty="0"/>
              <a:t>imageware.com.br</a:t>
            </a:r>
          </a:p>
        </p:txBody>
      </p:sp>
    </p:spTree>
    <p:extLst>
      <p:ext uri="{BB962C8B-B14F-4D97-AF65-F5344CB8AC3E}">
        <p14:creationId xmlns:p14="http://schemas.microsoft.com/office/powerpoint/2010/main" val="28280826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Walter</a:t>
            </a:r>
            <a:br>
              <a:rPr lang="pt-BR" dirty="0"/>
            </a:br>
            <a:r>
              <a:rPr lang="pt-BR" dirty="0"/>
              <a:t>Koch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98333" y="2226469"/>
            <a:ext cx="4553450" cy="3263504"/>
          </a:xfrm>
        </p:spPr>
        <p:txBody>
          <a:bodyPr>
            <a:normAutofit fontScale="77500" lnSpcReduction="20000"/>
          </a:bodyPr>
          <a:lstStyle/>
          <a:p>
            <a:r>
              <a:rPr lang="pt-BR" dirty="0"/>
              <a:t>Pai</a:t>
            </a:r>
          </a:p>
          <a:p>
            <a:r>
              <a:rPr lang="pt-BR" dirty="0"/>
              <a:t>Cibernauta</a:t>
            </a:r>
          </a:p>
          <a:p>
            <a:r>
              <a:rPr lang="pt-BR" dirty="0"/>
              <a:t>Pioneiro tecnologia</a:t>
            </a:r>
          </a:p>
          <a:p>
            <a:r>
              <a:rPr lang="pt-BR" dirty="0"/>
              <a:t>Evangelista</a:t>
            </a:r>
          </a:p>
          <a:p>
            <a:r>
              <a:rPr lang="pt-BR" dirty="0"/>
              <a:t>Arquiteto de sistemas</a:t>
            </a:r>
          </a:p>
          <a:p>
            <a:r>
              <a:rPr lang="pt-BR" dirty="0"/>
              <a:t>Fellow da AIIM</a:t>
            </a:r>
          </a:p>
          <a:p>
            <a:r>
              <a:rPr lang="pt-BR" dirty="0"/>
              <a:t>Explorador</a:t>
            </a:r>
          </a:p>
          <a:p>
            <a:pPr lvl="1"/>
            <a:r>
              <a:rPr lang="pt-BR" dirty="0"/>
              <a:t>ato de viajar, com o intuito de descobrir e conhecer regiões desconhecidas</a:t>
            </a:r>
          </a:p>
          <a:p>
            <a:endParaRPr lang="pt-BR" dirty="0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2C49E927-6318-44F4-B720-FAD4E9B9A0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396763"/>
            <a:ext cx="4553450" cy="4159360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DB223B68-C985-41EE-94F8-4BF5C4871D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199717"/>
            <a:ext cx="4553450" cy="4553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4894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981200" y="1340769"/>
            <a:ext cx="8229600" cy="4785395"/>
          </a:xfrm>
        </p:spPr>
        <p:txBody>
          <a:bodyPr/>
          <a:lstStyle/>
          <a:p>
            <a:endParaRPr lang="pt-BR" dirty="0"/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35A2A2FD-6703-484A-A90F-F2129374A3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1340768"/>
            <a:ext cx="9144000" cy="5140990"/>
          </a:xfrm>
          <a:prstGeom prst="rect">
            <a:avLst/>
          </a:prstGeom>
        </p:spPr>
      </p:pic>
      <p:pic>
        <p:nvPicPr>
          <p:cNvPr id="6" name="Picture 11">
            <a:extLst>
              <a:ext uri="{FF2B5EF4-FFF2-40B4-BE49-F238E27FC236}">
                <a16:creationId xmlns:a16="http://schemas.microsoft.com/office/drawing/2014/main" id="{5B69CA34-ADCE-438E-BFEF-25A362DAF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512" y="158751"/>
            <a:ext cx="1188244" cy="869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eta: para a Esquerda 4">
            <a:extLst>
              <a:ext uri="{FF2B5EF4-FFF2-40B4-BE49-F238E27FC236}">
                <a16:creationId xmlns:a16="http://schemas.microsoft.com/office/drawing/2014/main" id="{347CA7E3-ED3F-48CC-8825-DA4B7ED713F3}"/>
              </a:ext>
            </a:extLst>
          </p:cNvPr>
          <p:cNvSpPr/>
          <p:nvPr/>
        </p:nvSpPr>
        <p:spPr>
          <a:xfrm>
            <a:off x="4079776" y="3517441"/>
            <a:ext cx="1872208" cy="432048"/>
          </a:xfrm>
          <a:prstGeom prst="lef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DA97F328-3F46-4E1F-BFBE-A42D9852FC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4084" y="257486"/>
            <a:ext cx="8021229" cy="1143000"/>
          </a:xfrm>
        </p:spPr>
        <p:txBody>
          <a:bodyPr>
            <a:normAutofit/>
          </a:bodyPr>
          <a:lstStyle/>
          <a:p>
            <a:r>
              <a:rPr lang="pt-BR" dirty="0"/>
              <a:t>Os primórdio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94F23C-BCBB-8745-8ECD-E48EBD785B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7 Disrupt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AAD19E-F701-5945-9480-3284A02BDB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b="1" dirty="0"/>
              <a:t>Cloud</a:t>
            </a:r>
            <a:r>
              <a:rPr lang="en-US" dirty="0"/>
              <a:t> is a new business platform, not just a new technology platform, e.g. Borders vs Amazon</a:t>
            </a:r>
          </a:p>
          <a:p>
            <a:r>
              <a:rPr lang="en-US" b="1" dirty="0"/>
              <a:t>Mobile</a:t>
            </a:r>
            <a:r>
              <a:rPr lang="en-US" dirty="0"/>
              <a:t> moments are everywhere in the buyer journey, e.g. Uber vs Taxis</a:t>
            </a:r>
          </a:p>
          <a:p>
            <a:r>
              <a:rPr lang="en-US" b="1" dirty="0"/>
              <a:t>Internet of Things </a:t>
            </a:r>
            <a:r>
              <a:rPr lang="en-US" dirty="0"/>
              <a:t>creates new ways to capture and deliver value, e.g. Amazon Go stores</a:t>
            </a:r>
          </a:p>
          <a:p>
            <a:r>
              <a:rPr lang="en-US" b="1" dirty="0"/>
              <a:t>Demographics</a:t>
            </a:r>
            <a:r>
              <a:rPr lang="en-US" dirty="0"/>
              <a:t> is destiny with new requirements for online services, e.g. Gen Z prefer to communicate using Facetime</a:t>
            </a:r>
          </a:p>
          <a:p>
            <a:r>
              <a:rPr lang="en-US" b="1" dirty="0"/>
              <a:t>Consumerization</a:t>
            </a:r>
            <a:r>
              <a:rPr lang="en-US" dirty="0"/>
              <a:t> is impacting how customers evaluate and buy B2B services, e.g. collapsing buying cycles, pay-as-you-go</a:t>
            </a:r>
          </a:p>
          <a:p>
            <a:r>
              <a:rPr lang="en-US" b="1" dirty="0"/>
              <a:t>Privacy and GDPR</a:t>
            </a:r>
            <a:r>
              <a:rPr lang="en-US" dirty="0"/>
              <a:t> is changing the control of personal identifying information (PII) from companies to people, e.g. you can only keep PII for a specific purpose accepted by the individual</a:t>
            </a:r>
          </a:p>
          <a:p>
            <a:r>
              <a:rPr lang="en-US" b="1" dirty="0"/>
              <a:t>Artificial intelligence </a:t>
            </a:r>
            <a:r>
              <a:rPr lang="en-US" dirty="0"/>
              <a:t>allows you automate processes and predict customer behavior, e.g. DNB offering loans within 2 minutes to net-new customers without any human involvemen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9113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lipse 9">
            <a:extLst>
              <a:ext uri="{FF2B5EF4-FFF2-40B4-BE49-F238E27FC236}">
                <a16:creationId xmlns:a16="http://schemas.microsoft.com/office/drawing/2014/main" id="{559FB5F0-8475-4810-9F35-76CB528608A2}"/>
              </a:ext>
            </a:extLst>
          </p:cNvPr>
          <p:cNvSpPr/>
          <p:nvPr/>
        </p:nvSpPr>
        <p:spPr>
          <a:xfrm>
            <a:off x="2579077" y="2776776"/>
            <a:ext cx="3028071" cy="3065708"/>
          </a:xfrm>
          <a:prstGeom prst="ellipse">
            <a:avLst/>
          </a:prstGeom>
          <a:solidFill>
            <a:srgbClr val="92D050">
              <a:alpha val="78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E156B94D-675B-47B8-B8FB-02671C3009E0}"/>
              </a:ext>
            </a:extLst>
          </p:cNvPr>
          <p:cNvSpPr/>
          <p:nvPr/>
        </p:nvSpPr>
        <p:spPr>
          <a:xfrm>
            <a:off x="3096063" y="3335969"/>
            <a:ext cx="1962444" cy="1941341"/>
          </a:xfrm>
          <a:prstGeom prst="ellipse">
            <a:avLst/>
          </a:prstGeom>
          <a:solidFill>
            <a:srgbClr val="FFFF00">
              <a:alpha val="48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3031561-5232-44A9-B1E9-4376D0F0C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7220" y="993665"/>
            <a:ext cx="8021229" cy="1143000"/>
          </a:xfrm>
        </p:spPr>
        <p:txBody>
          <a:bodyPr>
            <a:normAutofit fontScale="90000"/>
          </a:bodyPr>
          <a:lstStyle/>
          <a:p>
            <a:pPr algn="r"/>
            <a:r>
              <a:rPr lang="pt-BR" dirty="0"/>
              <a:t>The Evolution </a:t>
            </a:r>
            <a:r>
              <a:rPr lang="pt-BR" dirty="0" err="1"/>
              <a:t>of</a:t>
            </a:r>
            <a:r>
              <a:rPr lang="pt-BR" dirty="0"/>
              <a:t> </a:t>
            </a:r>
            <a:r>
              <a:rPr lang="pt-BR" dirty="0" err="1"/>
              <a:t>the</a:t>
            </a:r>
            <a:r>
              <a:rPr lang="pt-BR" dirty="0"/>
              <a:t> non </a:t>
            </a:r>
            <a:r>
              <a:rPr lang="pt-BR" dirty="0" err="1"/>
              <a:t>structured</a:t>
            </a:r>
            <a:r>
              <a:rPr lang="pt-BR" dirty="0"/>
              <a:t> 		</a:t>
            </a:r>
            <a:r>
              <a:rPr lang="pt-BR" dirty="0" err="1"/>
              <a:t>content</a:t>
            </a:r>
            <a:endParaRPr lang="pt-BR" dirty="0"/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28A2F686-7EF9-433B-92EE-C866B179CA81}"/>
              </a:ext>
            </a:extLst>
          </p:cNvPr>
          <p:cNvSpPr/>
          <p:nvPr/>
        </p:nvSpPr>
        <p:spPr>
          <a:xfrm>
            <a:off x="3507545" y="3818664"/>
            <a:ext cx="1128932" cy="9941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pt-BR" sz="15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EB4B6EAF-B662-4017-B3D7-F82D307875C4}"/>
              </a:ext>
            </a:extLst>
          </p:cNvPr>
          <p:cNvSpPr/>
          <p:nvPr/>
        </p:nvSpPr>
        <p:spPr>
          <a:xfrm>
            <a:off x="3399932" y="3703924"/>
            <a:ext cx="1339948" cy="1205426"/>
          </a:xfrm>
          <a:prstGeom prst="ellipse">
            <a:avLst/>
          </a:prstGeom>
          <a:solidFill>
            <a:schemeClr val="accent1">
              <a:alpha val="28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pt-BR" b="1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Content</a:t>
            </a:r>
            <a:endParaRPr lang="pt-BR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2E32637D-F2B0-451B-A6FB-807AD905A5DF}"/>
              </a:ext>
            </a:extLst>
          </p:cNvPr>
          <p:cNvSpPr txBox="1"/>
          <p:nvPr/>
        </p:nvSpPr>
        <p:spPr>
          <a:xfrm>
            <a:off x="3756299" y="3574656"/>
            <a:ext cx="56996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pt-BR" sz="1350" dirty="0">
                <a:solidFill>
                  <a:prstClr val="black"/>
                </a:solidFill>
                <a:latin typeface="Calibri" panose="020F0502020204030204"/>
              </a:rPr>
              <a:t>Index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FB6C6586-7EC2-440F-8658-511621190C5D}"/>
              </a:ext>
            </a:extLst>
          </p:cNvPr>
          <p:cNvSpPr txBox="1"/>
          <p:nvPr/>
        </p:nvSpPr>
        <p:spPr>
          <a:xfrm>
            <a:off x="3604526" y="3324705"/>
            <a:ext cx="86876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pt-BR" sz="1350" dirty="0" err="1">
                <a:solidFill>
                  <a:prstClr val="black"/>
                </a:solidFill>
                <a:latin typeface="Calibri" panose="020F0502020204030204"/>
              </a:rPr>
              <a:t>Metadata</a:t>
            </a:r>
            <a:endParaRPr lang="pt-BR" sz="135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0C743CA4-E27B-4BDB-AFBE-685375BA23C6}"/>
              </a:ext>
            </a:extLst>
          </p:cNvPr>
          <p:cNvSpPr txBox="1"/>
          <p:nvPr/>
        </p:nvSpPr>
        <p:spPr>
          <a:xfrm>
            <a:off x="1876260" y="1981078"/>
            <a:ext cx="49430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pt-BR" sz="2800" b="1" dirty="0" err="1">
                <a:solidFill>
                  <a:prstClr val="black"/>
                </a:solidFill>
                <a:latin typeface="Calibri" panose="020F0502020204030204"/>
              </a:rPr>
              <a:t>Metadata</a:t>
            </a:r>
            <a:r>
              <a:rPr lang="pt-BR" sz="2800" b="1" dirty="0">
                <a:solidFill>
                  <a:prstClr val="black"/>
                </a:solidFill>
                <a:latin typeface="Calibri" panose="020F0502020204030204"/>
              </a:rPr>
              <a:t> = data </a:t>
            </a:r>
            <a:r>
              <a:rPr lang="pt-BR" sz="2800" b="1" dirty="0" err="1">
                <a:solidFill>
                  <a:prstClr val="black"/>
                </a:solidFill>
                <a:latin typeface="Calibri" panose="020F0502020204030204"/>
              </a:rPr>
              <a:t>about</a:t>
            </a:r>
            <a:r>
              <a:rPr lang="pt-BR" sz="28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pt-BR" sz="2800" b="1" dirty="0" err="1">
                <a:solidFill>
                  <a:prstClr val="black"/>
                </a:solidFill>
                <a:latin typeface="Calibri" panose="020F0502020204030204"/>
              </a:rPr>
              <a:t>the</a:t>
            </a:r>
            <a:r>
              <a:rPr lang="pt-BR" sz="2800" b="1" dirty="0">
                <a:solidFill>
                  <a:prstClr val="black"/>
                </a:solidFill>
                <a:latin typeface="Calibri" panose="020F0502020204030204"/>
              </a:rPr>
              <a:t> data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AF21B809-4389-4396-96C4-C6D6C99C543A}"/>
              </a:ext>
            </a:extLst>
          </p:cNvPr>
          <p:cNvSpPr txBox="1"/>
          <p:nvPr/>
        </p:nvSpPr>
        <p:spPr>
          <a:xfrm>
            <a:off x="3625628" y="2912241"/>
            <a:ext cx="86876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pt-BR" sz="1350" dirty="0" err="1">
                <a:solidFill>
                  <a:prstClr val="black"/>
                </a:solidFill>
                <a:latin typeface="Calibri" panose="020F0502020204030204"/>
              </a:rPr>
              <a:t>Metadata</a:t>
            </a:r>
            <a:endParaRPr lang="pt-BR" sz="1350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13" name="Imagem 12" descr="Uma imagem contendo interior, cozinha, armário, fogão&#10;&#10;Descrição gerada com muito alta confiança">
            <a:extLst>
              <a:ext uri="{FF2B5EF4-FFF2-40B4-BE49-F238E27FC236}">
                <a16:creationId xmlns:a16="http://schemas.microsoft.com/office/drawing/2014/main" id="{040168CE-4A17-4637-A397-3EAFBA9EC4E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7420698" y="2316670"/>
            <a:ext cx="1528712" cy="1146534"/>
          </a:xfrm>
          <a:prstGeom prst="rect">
            <a:avLst/>
          </a:prstGeom>
        </p:spPr>
      </p:pic>
      <p:pic>
        <p:nvPicPr>
          <p:cNvPr id="15" name="Imagem 14" descr="Uma imagem contendo interior, cozinha, armário, fogão&#10;&#10;Descrição gerada com muito alta confiança">
            <a:extLst>
              <a:ext uri="{FF2B5EF4-FFF2-40B4-BE49-F238E27FC236}">
                <a16:creationId xmlns:a16="http://schemas.microsoft.com/office/drawing/2014/main" id="{89F37C65-0CC1-4B17-953A-5CDBBA86776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8435704" y="3733371"/>
            <a:ext cx="1528713" cy="1146535"/>
          </a:xfrm>
          <a:prstGeom prst="rect">
            <a:avLst/>
          </a:prstGeom>
        </p:spPr>
      </p:pic>
      <p:pic>
        <p:nvPicPr>
          <p:cNvPr id="16" name="Imagem 15" descr="Uma imagem contendo interior, cozinha, armário, fogão&#10;&#10;Descrição gerada com muito alta confiança">
            <a:extLst>
              <a:ext uri="{FF2B5EF4-FFF2-40B4-BE49-F238E27FC236}">
                <a16:creationId xmlns:a16="http://schemas.microsoft.com/office/drawing/2014/main" id="{0BCDDE7A-3A14-4702-97A8-F6D29996FE8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6584858" y="5018770"/>
            <a:ext cx="1528713" cy="1146535"/>
          </a:xfrm>
          <a:prstGeom prst="rect">
            <a:avLst/>
          </a:prstGeom>
        </p:spPr>
      </p:pic>
      <p:cxnSp>
        <p:nvCxnSpPr>
          <p:cNvPr id="18" name="Conector de Seta Reta 17">
            <a:extLst>
              <a:ext uri="{FF2B5EF4-FFF2-40B4-BE49-F238E27FC236}">
                <a16:creationId xmlns:a16="http://schemas.microsoft.com/office/drawing/2014/main" id="{CDD93A99-48F8-4A73-B844-1449273B2B40}"/>
              </a:ext>
            </a:extLst>
          </p:cNvPr>
          <p:cNvCxnSpPr>
            <a:endCxn id="13" idx="1"/>
          </p:cNvCxnSpPr>
          <p:nvPr/>
        </p:nvCxnSpPr>
        <p:spPr>
          <a:xfrm flipV="1">
            <a:off x="5480541" y="2889939"/>
            <a:ext cx="1940159" cy="711767"/>
          </a:xfrm>
          <a:prstGeom prst="straightConnector1">
            <a:avLst/>
          </a:prstGeom>
          <a:ln w="9842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de Seta Reta 18">
            <a:extLst>
              <a:ext uri="{FF2B5EF4-FFF2-40B4-BE49-F238E27FC236}">
                <a16:creationId xmlns:a16="http://schemas.microsoft.com/office/drawing/2014/main" id="{D7D1A4BA-E8E7-459D-AF9B-806C2E692838}"/>
              </a:ext>
            </a:extLst>
          </p:cNvPr>
          <p:cNvCxnSpPr>
            <a:cxnSpLocks/>
            <a:endCxn id="15" idx="1"/>
          </p:cNvCxnSpPr>
          <p:nvPr/>
        </p:nvCxnSpPr>
        <p:spPr>
          <a:xfrm flipV="1">
            <a:off x="5598619" y="4306638"/>
            <a:ext cx="2837084" cy="25959"/>
          </a:xfrm>
          <a:prstGeom prst="straightConnector1">
            <a:avLst/>
          </a:prstGeom>
          <a:ln w="9842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de Seta Reta 20">
            <a:extLst>
              <a:ext uri="{FF2B5EF4-FFF2-40B4-BE49-F238E27FC236}">
                <a16:creationId xmlns:a16="http://schemas.microsoft.com/office/drawing/2014/main" id="{491A37E2-9A27-446C-92CF-7B6AF1272FE9}"/>
              </a:ext>
            </a:extLst>
          </p:cNvPr>
          <p:cNvCxnSpPr>
            <a:cxnSpLocks/>
            <a:endCxn id="16" idx="1"/>
          </p:cNvCxnSpPr>
          <p:nvPr/>
        </p:nvCxnSpPr>
        <p:spPr>
          <a:xfrm>
            <a:off x="5400243" y="5176028"/>
            <a:ext cx="1184615" cy="416008"/>
          </a:xfrm>
          <a:prstGeom prst="straightConnector1">
            <a:avLst/>
          </a:prstGeom>
          <a:ln w="9842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tângulo 23">
            <a:extLst>
              <a:ext uri="{FF2B5EF4-FFF2-40B4-BE49-F238E27FC236}">
                <a16:creationId xmlns:a16="http://schemas.microsoft.com/office/drawing/2014/main" id="{676FFA05-0D53-41BD-9C48-5546BE943BE0}"/>
              </a:ext>
            </a:extLst>
          </p:cNvPr>
          <p:cNvSpPr/>
          <p:nvPr/>
        </p:nvSpPr>
        <p:spPr>
          <a:xfrm>
            <a:off x="7017162" y="1032094"/>
            <a:ext cx="3298579" cy="1084894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pt-BR" sz="45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DATA</a:t>
            </a:r>
          </a:p>
        </p:txBody>
      </p:sp>
      <p:pic>
        <p:nvPicPr>
          <p:cNvPr id="22" name="Picture 11">
            <a:extLst>
              <a:ext uri="{FF2B5EF4-FFF2-40B4-BE49-F238E27FC236}">
                <a16:creationId xmlns:a16="http://schemas.microsoft.com/office/drawing/2014/main" id="{03E79F32-9E34-4695-8C5A-DFE4E86A98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512" y="158751"/>
            <a:ext cx="1188244" cy="869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0235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7" grpId="0" animBg="1"/>
      <p:bldP spid="8" grpId="0"/>
      <p:bldP spid="9" grpId="0"/>
      <p:bldP spid="11" grpId="0"/>
      <p:bldP spid="2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AD212A0-5EBB-4E84-AD52-4EE37F7C2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3552" y="332656"/>
            <a:ext cx="8229600" cy="1143000"/>
          </a:xfrm>
        </p:spPr>
        <p:txBody>
          <a:bodyPr/>
          <a:lstStyle/>
          <a:p>
            <a:r>
              <a:rPr lang="pt-BR" dirty="0"/>
              <a:t>Normatização de metadados</a:t>
            </a:r>
            <a:endParaRPr lang="en-US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F7D8C7B-2EFC-4159-BA29-43183C03B3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Dublin Core</a:t>
            </a:r>
          </a:p>
          <a:p>
            <a:r>
              <a:rPr lang="pt-BR" dirty="0"/>
              <a:t>ISO 23081-1:2017 - Informação e documentação - Processos de gestão de documentos de arquivo - Metadados para documentos de arquivo</a:t>
            </a:r>
            <a:endParaRPr lang="en-US" dirty="0"/>
          </a:p>
        </p:txBody>
      </p:sp>
      <p:pic>
        <p:nvPicPr>
          <p:cNvPr id="5" name="Picture 11">
            <a:extLst>
              <a:ext uri="{FF2B5EF4-FFF2-40B4-BE49-F238E27FC236}">
                <a16:creationId xmlns:a16="http://schemas.microsoft.com/office/drawing/2014/main" id="{58988E4E-7892-4E22-8CBD-481BAF380F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512" y="158751"/>
            <a:ext cx="1188244" cy="869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10767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AD212A0-5EBB-4E84-AD52-4EE37F7C22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SO 23081-1:2017</a:t>
            </a:r>
            <a:endParaRPr lang="en-US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AE006AC6-4620-4914-A0DF-61746F4DA4CC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898848" y="1393301"/>
            <a:ext cx="8229600" cy="4939765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152352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228600" indent="-228600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arenR"/>
            </a:pPr>
            <a:r>
              <a:rPr lang="pt-PT" altLang="en-US" sz="2800" dirty="0">
                <a:solidFill>
                  <a:srgbClr val="21212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a </a:t>
            </a:r>
            <a:r>
              <a:rPr lang="pt-PT" altLang="en-US" sz="2800" b="1" dirty="0">
                <a:solidFill>
                  <a:srgbClr val="21212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erspectiva do negócio</a:t>
            </a:r>
            <a:r>
              <a:rPr lang="pt-PT" altLang="en-US" sz="2800" dirty="0">
                <a:solidFill>
                  <a:srgbClr val="21212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onde os metadados de gestão de documentos de arquivo apoiam os processos de negócio;</a:t>
            </a:r>
          </a:p>
          <a:p>
            <a:pPr marL="228600" indent="-228600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arenR"/>
            </a:pPr>
            <a:r>
              <a:rPr lang="pt-PT" altLang="en-US" sz="2800" dirty="0">
                <a:solidFill>
                  <a:srgbClr val="21212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a </a:t>
            </a:r>
            <a:r>
              <a:rPr lang="pt-PT" altLang="en-US" sz="2800" b="1" dirty="0">
                <a:solidFill>
                  <a:srgbClr val="21212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erspectiva de gestão de documentos de arquivo</a:t>
            </a:r>
            <a:r>
              <a:rPr lang="pt-PT" altLang="en-US" sz="2800" dirty="0">
                <a:solidFill>
                  <a:srgbClr val="21212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onde os metadados capturam suas características  e seu contexto de negócio e apoiam sua gestão ao longo do tempo;</a:t>
            </a:r>
          </a:p>
          <a:p>
            <a:pPr marL="228600" indent="-228600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arenR"/>
            </a:pPr>
            <a:r>
              <a:rPr lang="pt-PT" altLang="en-US" sz="2800" dirty="0">
                <a:solidFill>
                  <a:srgbClr val="212121"/>
                </a:solidFill>
                <a:ea typeface="Calibri" panose="020F0502020204030204" pitchFamily="34" charset="0"/>
              </a:rPr>
              <a:t> a </a:t>
            </a:r>
            <a:r>
              <a:rPr lang="pt-PT" altLang="en-US" sz="2800" b="1" dirty="0">
                <a:solidFill>
                  <a:srgbClr val="212121"/>
                </a:solidFill>
                <a:ea typeface="Calibri" panose="020F0502020204030204" pitchFamily="34" charset="0"/>
              </a:rPr>
              <a:t>perspectiva de utilização dos documentos de arquivo</a:t>
            </a:r>
            <a:r>
              <a:rPr lang="pt-PT" altLang="en-US" sz="2800" dirty="0">
                <a:solidFill>
                  <a:srgbClr val="212121"/>
                </a:solidFill>
                <a:ea typeface="Calibri" panose="020F0502020204030204" pitchFamily="34" charset="0"/>
              </a:rPr>
              <a:t> independentemente de seu contexto de negócio, onde os metadados permitem sua recuperação, compreensão e interpretação</a:t>
            </a:r>
            <a:r>
              <a:rPr lang="en-US" altLang="en-US" sz="1200" dirty="0">
                <a:latin typeface="Arial" panose="020B0604020202020204" pitchFamily="34" charset="0"/>
              </a:rPr>
              <a:t> </a:t>
            </a:r>
            <a:endParaRPr lang="en-US" altLang="en-US" sz="4400" dirty="0">
              <a:latin typeface="Arial" panose="020B0604020202020204" pitchFamily="34" charset="0"/>
            </a:endParaRPr>
          </a:p>
        </p:txBody>
      </p:sp>
      <p:pic>
        <p:nvPicPr>
          <p:cNvPr id="8" name="Picture 11">
            <a:extLst>
              <a:ext uri="{FF2B5EF4-FFF2-40B4-BE49-F238E27FC236}">
                <a16:creationId xmlns:a16="http://schemas.microsoft.com/office/drawing/2014/main" id="{8D7B7C58-2385-45A5-BC46-31D482B657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512" y="158751"/>
            <a:ext cx="1188244" cy="869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21468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81891A-C250-499C-98D0-3F23B1492E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0" y="974939"/>
            <a:ext cx="7886700" cy="1325563"/>
          </a:xfrm>
        </p:spPr>
        <p:txBody>
          <a:bodyPr/>
          <a:lstStyle/>
          <a:p>
            <a:pPr algn="ctr"/>
            <a:r>
              <a:rPr lang="pt-BR" altLang="pt-BR" b="1" i="1" dirty="0" err="1">
                <a:solidFill>
                  <a:srgbClr val="2E2E2E"/>
                </a:solidFill>
                <a:latin typeface="Roboto Condensed"/>
              </a:rPr>
              <a:t>Intelligent</a:t>
            </a:r>
            <a:r>
              <a:rPr lang="pt-BR" altLang="pt-BR" dirty="0">
                <a:solidFill>
                  <a:srgbClr val="2E2E2E"/>
                </a:solidFill>
                <a:latin typeface="Roboto Condensed"/>
              </a:rPr>
              <a:t> </a:t>
            </a:r>
            <a:r>
              <a:rPr lang="pt-BR" altLang="pt-BR" dirty="0" err="1">
                <a:solidFill>
                  <a:srgbClr val="2E2E2E"/>
                </a:solidFill>
                <a:latin typeface="Roboto Condensed"/>
              </a:rPr>
              <a:t>Information</a:t>
            </a:r>
            <a:r>
              <a:rPr lang="pt-BR" altLang="pt-BR" dirty="0">
                <a:solidFill>
                  <a:srgbClr val="2E2E2E"/>
                </a:solidFill>
                <a:latin typeface="Roboto Condensed"/>
              </a:rPr>
              <a:t> Management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12FF3B3-3612-4163-8E0D-E7B2933EFF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2576" y="2314638"/>
            <a:ext cx="78867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495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“</a:t>
            </a:r>
            <a:r>
              <a:rPr lang="en-US" sz="4950" b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ligente</a:t>
            </a:r>
            <a:r>
              <a:rPr lang="en-US" sz="495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” </a:t>
            </a:r>
            <a:r>
              <a:rPr lang="en-US" sz="4950" b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gnifica</a:t>
            </a:r>
            <a:r>
              <a:rPr lang="en-US" sz="495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que a </a:t>
            </a:r>
            <a:r>
              <a:rPr lang="en-US" sz="4950" b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estão</a:t>
            </a:r>
            <a:r>
              <a:rPr lang="en-US" sz="495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 </a:t>
            </a:r>
            <a:r>
              <a:rPr lang="en-US" sz="4950" b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adados</a:t>
            </a:r>
            <a:r>
              <a:rPr lang="en-US" sz="495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se </a:t>
            </a:r>
            <a:r>
              <a:rPr lang="en-US" sz="4950" b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rna</a:t>
            </a:r>
            <a:r>
              <a:rPr lang="en-US" sz="495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4950" b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rescentemente</a:t>
            </a:r>
            <a:r>
              <a:rPr lang="en-US" sz="495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4950" b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rítica</a:t>
            </a:r>
            <a:r>
              <a:rPr lang="en-US" sz="495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4950" b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o</a:t>
            </a:r>
            <a:r>
              <a:rPr lang="en-US" sz="495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um </a:t>
            </a:r>
            <a:r>
              <a:rPr lang="en-US" sz="4950" b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abilizador</a:t>
            </a:r>
            <a:r>
              <a:rPr lang="en-US" sz="495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4950" b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ásico</a:t>
            </a:r>
            <a:r>
              <a:rPr lang="en-US" sz="495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  <a:endParaRPr lang="pt-BR" sz="495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2DAADED9-E8AB-4F0E-B650-7EB00E71AE4B}"/>
              </a:ext>
            </a:extLst>
          </p:cNvPr>
          <p:cNvSpPr txBox="1"/>
          <p:nvPr/>
        </p:nvSpPr>
        <p:spPr>
          <a:xfrm>
            <a:off x="5256766" y="5489973"/>
            <a:ext cx="35309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pt-BR" sz="2400" dirty="0">
                <a:solidFill>
                  <a:prstClr val="black"/>
                </a:solidFill>
                <a:latin typeface="Calibri" panose="020F0502020204030204"/>
              </a:rPr>
              <a:t>Fonte: John Mancini - AIIM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91E2D1A4-5F71-4BC7-B49F-F1EFF5C89B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512" y="158751"/>
            <a:ext cx="1188244" cy="869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422989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3267947-D919-4BE3-84F8-1A2D9672B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/>
              <a:t>Tendencias</a:t>
            </a:r>
            <a:endParaRPr lang="pt-BR" dirty="0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3DEC13CA-811E-4C14-9BC9-E4A9435769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81200" y="1446239"/>
            <a:ext cx="8229600" cy="4525963"/>
          </a:xfrm>
        </p:spPr>
        <p:txBody>
          <a:bodyPr/>
          <a:lstStyle/>
          <a:p>
            <a:pPr marL="0" indent="0">
              <a:lnSpc>
                <a:spcPct val="107000"/>
              </a:lnSpc>
              <a:spcAft>
                <a:spcPts val="600"/>
              </a:spcAft>
              <a:buNone/>
            </a:pPr>
            <a:r>
              <a:rPr lang="pt-B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informação de negócio contidas em arquivos é uma pequena porção do tamanho total do arquivo mas normalmente representa o maior valor do arquivo. Estes dados potencialmente ganham valor após terem sido movidos para um ambiente estruturado, mas isto traz grandes desafios que a indústria da informação precisa endereçar.</a:t>
            </a:r>
          </a:p>
          <a:p>
            <a:pPr marL="0" indent="0">
              <a:lnSpc>
                <a:spcPct val="107000"/>
              </a:lnSpc>
              <a:spcAft>
                <a:spcPts val="600"/>
              </a:spcAft>
              <a:buNone/>
            </a:pPr>
            <a:r>
              <a:rPr lang="pt-BR" b="1" dirty="0">
                <a:highlight>
                  <a:srgbClr val="FF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stemas tradicionais de ECM foram desenhados para interação com humanos, mas a automação, alavancada por IA, está mudando o balanceamento para o processamento por máquinas.</a:t>
            </a:r>
          </a:p>
          <a:p>
            <a:pPr marL="0" indent="0">
              <a:lnSpc>
                <a:spcPct val="107000"/>
              </a:lnSpc>
              <a:spcAft>
                <a:spcPts val="600"/>
              </a:spcAft>
              <a:buNone/>
            </a:pPr>
            <a:r>
              <a:rPr lang="pt-B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an </a:t>
            </a:r>
            <a:r>
              <a:rPr lang="pt-BR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lz</a:t>
            </a:r>
            <a:r>
              <a:rPr lang="pt-B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Sharpe, </a:t>
            </a:r>
            <a:r>
              <a:rPr lang="pt-BR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ep</a:t>
            </a:r>
            <a:r>
              <a:rPr lang="pt-B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alysis</a:t>
            </a:r>
            <a:r>
              <a:rPr lang="pt-BR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2995706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d0yuqlTWCeU3UF0Lcdkg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_Tema do Offic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>
            <a:lumMod val="50000"/>
            <a:lumOff val="50000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a:spPr>
      <a:bodyPr anchor="ctr"/>
      <a:lstStyle>
        <a:defPPr algn="ctr" fontAlgn="auto">
          <a:spcBef>
            <a:spcPts val="0"/>
          </a:spcBef>
          <a:spcAft>
            <a:spcPts val="0"/>
          </a:spcAft>
          <a:defRPr sz="16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  <a:cs typeface="Arial" pitchFamily="34" charset="0"/>
          </a:defRPr>
        </a:defPPr>
      </a:lstStyle>
      <a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1_Design padrão">
  <a:themeElements>
    <a:clrScheme name="Design padrã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sign padrã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Office Theme">
  <a:themeElements>
    <a:clrScheme name="Пользовательские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BFFE69"/>
      </a:accent1>
      <a:accent2>
        <a:srgbClr val="D5D5D5"/>
      </a:accent2>
      <a:accent3>
        <a:srgbClr val="65DDE6"/>
      </a:accent3>
      <a:accent4>
        <a:srgbClr val="646464"/>
      </a:accent4>
      <a:accent5>
        <a:srgbClr val="000000"/>
      </a:accent5>
      <a:accent6>
        <a:srgbClr val="024492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fotechtion Updated.pptx" id="{C2EE4A87-441E-4948-AFB7-E0E11F1F26E6}" vid="{F8C80484-666A-42B5-97B9-950E741FE513}"/>
    </a:ext>
  </a:extLst>
</a:theme>
</file>

<file path=ppt/theme/theme7.xml><?xml version="1.0" encoding="utf-8"?>
<a:theme xmlns:a="http://schemas.openxmlformats.org/drawingml/2006/main" name="2_Tema do Offic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Tema do Offic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4_Tema do Offic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327</TotalTime>
  <Words>829</Words>
  <Application>Microsoft Office PowerPoint</Application>
  <PresentationFormat>Widescreen</PresentationFormat>
  <Paragraphs>110</Paragraphs>
  <Slides>18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14</vt:i4>
      </vt:variant>
      <vt:variant>
        <vt:lpstr>Tema</vt:lpstr>
      </vt:variant>
      <vt:variant>
        <vt:i4>10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8</vt:i4>
      </vt:variant>
    </vt:vector>
  </HeadingPairs>
  <TitlesOfParts>
    <vt:vector size="43" baseType="lpstr">
      <vt:lpstr>Arial</vt:lpstr>
      <vt:lpstr>Arial MT</vt:lpstr>
      <vt:lpstr>Arial Rounded MT Bold</vt:lpstr>
      <vt:lpstr>Calibri</vt:lpstr>
      <vt:lpstr>Calibri Light</vt:lpstr>
      <vt:lpstr>Elephant</vt:lpstr>
      <vt:lpstr>Geomanist Bold</vt:lpstr>
      <vt:lpstr>NewJuneBold</vt:lpstr>
      <vt:lpstr>NewJuneRegular</vt:lpstr>
      <vt:lpstr>Roboto Condensed</vt:lpstr>
      <vt:lpstr>Segoe UI</vt:lpstr>
      <vt:lpstr>Segoe UI Light</vt:lpstr>
      <vt:lpstr>Tahoma</vt:lpstr>
      <vt:lpstr>Wingdings</vt:lpstr>
      <vt:lpstr>Tema do Office</vt:lpstr>
      <vt:lpstr>8_Custom Design</vt:lpstr>
      <vt:lpstr>Office Theme</vt:lpstr>
      <vt:lpstr>Personalizar design</vt:lpstr>
      <vt:lpstr>1_Design padrão</vt:lpstr>
      <vt:lpstr>1_Office Theme</vt:lpstr>
      <vt:lpstr>2_Tema do Office</vt:lpstr>
      <vt:lpstr>3_Tema do Office</vt:lpstr>
      <vt:lpstr>4_Tema do Office</vt:lpstr>
      <vt:lpstr>1_Tema do Office</vt:lpstr>
      <vt:lpstr>think-cell Slide</vt:lpstr>
      <vt:lpstr>Metadado é mais do que dado! </vt:lpstr>
      <vt:lpstr>Walter Koch</vt:lpstr>
      <vt:lpstr>Os primórdios</vt:lpstr>
      <vt:lpstr>The 7 Disrupters</vt:lpstr>
      <vt:lpstr>The Evolution of the non structured   content</vt:lpstr>
      <vt:lpstr>Normatização de metadados</vt:lpstr>
      <vt:lpstr>ISO 23081-1:2017</vt:lpstr>
      <vt:lpstr>Intelligent Information Management</vt:lpstr>
      <vt:lpstr>Tendencias</vt:lpstr>
      <vt:lpstr>Automação da classificação</vt:lpstr>
      <vt:lpstr>Automação da classificação</vt:lpstr>
      <vt:lpstr>Automatize classificação</vt:lpstr>
      <vt:lpstr>Apresentação do PowerPoint</vt:lpstr>
      <vt:lpstr>IA e metadados</vt:lpstr>
      <vt:lpstr>Metadados críticos</vt:lpstr>
      <vt:lpstr>Metadados críticos</vt:lpstr>
      <vt:lpstr>Metadados críticos</vt:lpstr>
      <vt:lpstr>Apresentação do PowerPoint</vt:lpstr>
    </vt:vector>
  </TitlesOfParts>
  <Company>Grizli777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TOI 2018</dc:title>
  <dc:creator>Coordenação TOI</dc:creator>
  <cp:keywords>TOI</cp:keywords>
  <cp:lastModifiedBy>Walter Koch</cp:lastModifiedBy>
  <cp:revision>88</cp:revision>
  <cp:lastPrinted>2018-06-16T13:50:19Z</cp:lastPrinted>
  <dcterms:created xsi:type="dcterms:W3CDTF">2017-12-06T12:59:58Z</dcterms:created>
  <dcterms:modified xsi:type="dcterms:W3CDTF">2024-08-20T09:54:26Z</dcterms:modified>
</cp:coreProperties>
</file>